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8.xml" ContentType="application/vnd.openxmlformats-officedocument.theme+xml"/>
  <Override PartName="/ppt/tags/tag83.xml" ContentType="application/vnd.openxmlformats-officedocument.presentationml.tags+xml"/>
  <Override PartName="/ppt/theme/theme9.xml" ContentType="application/vnd.openxmlformats-officedocument.theme+xml"/>
  <Override PartName="/ppt/tags/tag84.xml" ContentType="application/vnd.openxmlformats-officedocument.presentationml.tags+xml"/>
  <Override PartName="/ppt/notesSlides/notesSlide1.xml" ContentType="application/vnd.openxmlformats-officedocument.presentationml.notesSlide+xml"/>
  <Override PartName="/ppt/tags/tag85.xml" ContentType="application/vnd.openxmlformats-officedocument.presentationml.tags+xml"/>
  <Override PartName="/ppt/notesSlides/notesSlide2.xml" ContentType="application/vnd.openxmlformats-officedocument.presentationml.notesSlide+xml"/>
  <Override PartName="/ppt/tags/tag86.xml" ContentType="application/vnd.openxmlformats-officedocument.presentationml.tags+xml"/>
  <Override PartName="/ppt/notesSlides/notesSlide3.xml" ContentType="application/vnd.openxmlformats-officedocument.presentationml.notesSlide+xml"/>
  <Override PartName="/ppt/tags/tag8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4" r:id="rId4"/>
    <p:sldMasterId id="2147483653" r:id="rId5"/>
    <p:sldMasterId id="2147483678" r:id="rId6"/>
    <p:sldMasterId id="2147483671" r:id="rId7"/>
    <p:sldMasterId id="2147483706" r:id="rId8"/>
    <p:sldMasterId id="2147483708" r:id="rId9"/>
    <p:sldMasterId id="2147483730" r:id="rId10"/>
    <p:sldMasterId id="2147483754" r:id="rId11"/>
  </p:sldMasterIdLst>
  <p:notesMasterIdLst>
    <p:notesMasterId r:id="rId24"/>
  </p:notesMasterIdLst>
  <p:sldIdLst>
    <p:sldId id="2015" r:id="rId12"/>
    <p:sldId id="2134805767" r:id="rId13"/>
    <p:sldId id="2134805768" r:id="rId14"/>
    <p:sldId id="2134805769" r:id="rId15"/>
    <p:sldId id="256" r:id="rId16"/>
    <p:sldId id="257" r:id="rId17"/>
    <p:sldId id="258" r:id="rId18"/>
    <p:sldId id="259" r:id="rId19"/>
    <p:sldId id="260" r:id="rId20"/>
    <p:sldId id="261" r:id="rId21"/>
    <p:sldId id="262" r:id="rId22"/>
    <p:sldId id="1934" r:id="rId23"/>
  </p:sldIdLst>
  <p:sldSz cx="12192000" cy="6858000"/>
  <p:notesSz cx="6797675" cy="9926638"/>
  <p:custDataLst>
    <p:tags r:id="rId2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41B48A88-4904-4F15-BD13-909052813057}">
          <p14:sldIdLst>
            <p14:sldId id="2015"/>
            <p14:sldId id="2134805767"/>
            <p14:sldId id="2134805768"/>
            <p14:sldId id="2134805769"/>
            <p14:sldId id="256"/>
            <p14:sldId id="257"/>
            <p14:sldId id="258"/>
            <p14:sldId id="259"/>
            <p14:sldId id="260"/>
            <p14:sldId id="261"/>
            <p14:sldId id="262"/>
            <p14:sldId id="193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A399BB-C1DB-1A1A-DDDD-0E963A7434F5}" name="DAVID PAUL JOHNSON" initials="DPJ" userId="S::david.johnson@telefonica.com::6d95dc19-3100-4604-bd92-cedb3a5e392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00FF"/>
    <a:srgbClr val="F1F4FF"/>
    <a:srgbClr val="0066FF"/>
    <a:srgbClr val="0869E6"/>
    <a:srgbClr val="D8CDDA"/>
    <a:srgbClr val="E8D77A"/>
    <a:srgbClr val="FBF3DA"/>
    <a:srgbClr val="66A3FF"/>
    <a:srgbClr val="785E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657" autoAdjust="0"/>
  </p:normalViewPr>
  <p:slideViewPr>
    <p:cSldViewPr snapToGrid="0">
      <p:cViewPr varScale="1">
        <p:scale>
          <a:sx n="73" d="100"/>
          <a:sy n="73" d="100"/>
        </p:scale>
        <p:origin x="54" y="7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596237DB-060F-144E-B0D8-5A41407D1917}" type="datetimeFigureOut">
              <a:rPr lang="en-GB" smtClean="0"/>
              <a:pPr/>
              <a:t>20/07/2022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los </a:t>
            </a:r>
            <a:r>
              <a:rPr lang="en-GB" err="1"/>
              <a:t>estilos</a:t>
            </a:r>
            <a:r>
              <a:rPr lang="en-GB"/>
              <a:t> de </a:t>
            </a:r>
            <a:r>
              <a:rPr lang="en-GB" err="1"/>
              <a:t>text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  <a:p>
            <a:pPr lvl="1"/>
            <a:r>
              <a:rPr lang="en-GB"/>
              <a:t>Segundo </a:t>
            </a:r>
            <a:r>
              <a:rPr lang="en-GB" err="1"/>
              <a:t>nivel</a:t>
            </a:r>
            <a:endParaRPr lang="en-GB"/>
          </a:p>
          <a:p>
            <a:pPr lvl="2"/>
            <a:r>
              <a:rPr lang="en-GB"/>
              <a:t>Tercer </a:t>
            </a:r>
            <a:r>
              <a:rPr lang="en-GB" err="1"/>
              <a:t>nivel</a:t>
            </a:r>
            <a:endParaRPr lang="en-GB"/>
          </a:p>
          <a:p>
            <a:pPr lvl="3"/>
            <a:r>
              <a:rPr lang="en-GB"/>
              <a:t>Cuarto </a:t>
            </a:r>
            <a:r>
              <a:rPr lang="en-GB" err="1"/>
              <a:t>nivel</a:t>
            </a:r>
            <a:endParaRPr lang="en-GB"/>
          </a:p>
          <a:p>
            <a:pPr lvl="4"/>
            <a:r>
              <a:rPr lang="en-GB"/>
              <a:t>Quinto </a:t>
            </a:r>
            <a:r>
              <a:rPr lang="en-GB" err="1"/>
              <a:t>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7BCA4495-405B-604F-BDAD-C09A80F4E47C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3754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4813" y="1247775"/>
            <a:ext cx="5988050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1496ED-DAD3-49D8-A5B8-65855099C004}" type="slidenum">
              <a:rPr lang="es-ES" altLang="es-ES" smtClean="0"/>
              <a:pPr>
                <a:defRPr/>
              </a:pPr>
              <a:t>1</a:t>
            </a:fld>
            <a:endParaRPr lang="es-ES" alt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3407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CA4495-405B-604F-BDAD-C09A80F4E47C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00958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CA4495-405B-604F-BDAD-C09A80F4E47C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1825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CA4495-405B-604F-BDAD-C09A80F4E47C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63603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  <a:p>
            <a:r>
              <a:rPr lang="es-ES" dirty="0"/>
              <a:t>Registrar un perfil de servicio (una descripción del servicio de </a:t>
            </a:r>
            <a:r>
              <a:rPr lang="es-ES" dirty="0" err="1"/>
              <a:t>edge</a:t>
            </a:r>
            <a:r>
              <a:rPr lang="es-ES" dirty="0"/>
              <a:t> del desarrollador) con el operador MEC.</a:t>
            </a:r>
          </a:p>
          <a:p>
            <a:endParaRPr lang="es-ES" dirty="0"/>
          </a:p>
          <a:p>
            <a:r>
              <a:rPr lang="es-ES" dirty="0"/>
              <a:t>Registrar los </a:t>
            </a:r>
            <a:r>
              <a:rPr lang="es-ES" dirty="0" err="1"/>
              <a:t>endpoints</a:t>
            </a:r>
            <a:r>
              <a:rPr lang="es-ES" dirty="0"/>
              <a:t> de servicio desplegados con el operador MEC, lo que permite descubrir el </a:t>
            </a:r>
            <a:r>
              <a:rPr lang="es-ES" dirty="0" err="1"/>
              <a:t>endpoint</a:t>
            </a:r>
            <a:r>
              <a:rPr lang="es-ES" dirty="0"/>
              <a:t> de servicio más cercano en tiempo de ejecución.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AFDA00-4E58-4548-B9B2-9BD49E431CAA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003667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4813" y="1247775"/>
            <a:ext cx="5988050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1496ED-DAD3-49D8-A5B8-65855099C004}" type="slidenum">
              <a:rPr lang="es-ES" altLang="es-ES" smtClean="0"/>
              <a:pPr>
                <a:defRPr/>
              </a:pPr>
              <a:t>12</a:t>
            </a:fld>
            <a:endParaRPr lang="es-ES" alt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40125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sv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sv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sv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svg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svg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sv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sv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svg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svg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sv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svg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svg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svg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5D2E3BB-804C-4BD5-930B-ED149E05E5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164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5D2E3BB-804C-4BD5-930B-ED149E05E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38F847B-B1D5-6E4F-BAF3-178C29398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169" y="1872681"/>
            <a:ext cx="2966654" cy="332616"/>
          </a:xfrm>
        </p:spPr>
        <p:txBody>
          <a:bodyPr numCol="1">
            <a:normAutofit/>
          </a:bodyPr>
          <a:lstStyle>
            <a:lvl1pPr algn="just" rtl="0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n-GB"/>
              <a:t>Subheading Title</a:t>
            </a:r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0E77A328-002E-C148-B1FB-AB2185096C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91403" y="1668457"/>
            <a:ext cx="3599141" cy="307340"/>
          </a:xfrm>
        </p:spPr>
        <p:txBody>
          <a:bodyPr numCol="1">
            <a:noAutofit/>
          </a:bodyPr>
          <a:lstStyle>
            <a:lvl1pPr algn="just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n-GB"/>
              <a:t>…………………………………………………….......................</a:t>
            </a:r>
          </a:p>
        </p:txBody>
      </p:sp>
      <p:sp>
        <p:nvSpPr>
          <p:cNvPr id="16" name="Marcador de texto 15">
            <a:extLst>
              <a:ext uri="{FF2B5EF4-FFF2-40B4-BE49-F238E27FC236}">
                <a16:creationId xmlns:a16="http://schemas.microsoft.com/office/drawing/2014/main" id="{6FF4BFE9-A3A9-7749-B879-E60B1A2B8D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87277" y="1552047"/>
            <a:ext cx="729889" cy="418962"/>
          </a:xfrm>
        </p:spPr>
        <p:txBody>
          <a:bodyPr>
            <a:normAutofit/>
          </a:bodyPr>
          <a:lstStyle>
            <a:lvl1pPr algn="just" rtl="0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P.01</a:t>
            </a:r>
          </a:p>
        </p:txBody>
      </p:sp>
      <p:sp>
        <p:nvSpPr>
          <p:cNvPr id="23" name="Marcador de texto 3">
            <a:extLst>
              <a:ext uri="{FF2B5EF4-FFF2-40B4-BE49-F238E27FC236}">
                <a16:creationId xmlns:a16="http://schemas.microsoft.com/office/drawing/2014/main" id="{A5E3CCB4-43EF-DB40-B50F-80B1F61C6F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169" y="2595583"/>
            <a:ext cx="2973850" cy="320363"/>
          </a:xfrm>
        </p:spPr>
        <p:txBody>
          <a:bodyPr numCol="1">
            <a:normAutofit/>
          </a:bodyPr>
          <a:lstStyle>
            <a:lvl1pPr algn="just" rtl="0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n-GB"/>
              <a:t>Subheading Title</a:t>
            </a:r>
          </a:p>
        </p:txBody>
      </p:sp>
      <p:sp>
        <p:nvSpPr>
          <p:cNvPr id="24" name="Marcador de texto 3">
            <a:extLst>
              <a:ext uri="{FF2B5EF4-FFF2-40B4-BE49-F238E27FC236}">
                <a16:creationId xmlns:a16="http://schemas.microsoft.com/office/drawing/2014/main" id="{5C2665B6-DB56-C84D-93D8-D2148DCE3E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91403" y="2391359"/>
            <a:ext cx="3599141" cy="311501"/>
          </a:xfrm>
        </p:spPr>
        <p:txBody>
          <a:bodyPr numCol="1">
            <a:noAutofit/>
          </a:bodyPr>
          <a:lstStyle>
            <a:lvl1pPr algn="just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n-GB"/>
              <a:t>…………………………………………………….......................</a:t>
            </a:r>
          </a:p>
        </p:txBody>
      </p:sp>
      <p:sp>
        <p:nvSpPr>
          <p:cNvPr id="25" name="Marcador de texto 15">
            <a:extLst>
              <a:ext uri="{FF2B5EF4-FFF2-40B4-BE49-F238E27FC236}">
                <a16:creationId xmlns:a16="http://schemas.microsoft.com/office/drawing/2014/main" id="{DD88DE94-DE9B-9548-BFC2-D597A4F56D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7277" y="2274950"/>
            <a:ext cx="729889" cy="418962"/>
          </a:xfrm>
        </p:spPr>
        <p:txBody>
          <a:bodyPr>
            <a:normAutofit/>
          </a:bodyPr>
          <a:lstStyle>
            <a:lvl1pPr algn="just" rtl="0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P.01</a:t>
            </a:r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2238F629-2A35-E441-ACA7-961CE41BCB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168" y="3313699"/>
            <a:ext cx="2968439" cy="320161"/>
          </a:xfrm>
        </p:spPr>
        <p:txBody>
          <a:bodyPr numCol="1">
            <a:normAutofit/>
          </a:bodyPr>
          <a:lstStyle>
            <a:lvl1pPr algn="just" rtl="0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n-GB"/>
              <a:t>Subheading Title</a:t>
            </a:r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4799B269-59E4-0B4F-81BF-633D66B8F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91403" y="3109475"/>
            <a:ext cx="3599141" cy="310229"/>
          </a:xfrm>
        </p:spPr>
        <p:txBody>
          <a:bodyPr numCol="1">
            <a:noAutofit/>
          </a:bodyPr>
          <a:lstStyle>
            <a:lvl1pPr algn="just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n-GB"/>
              <a:t>…………………………………………………….......................</a:t>
            </a:r>
          </a:p>
        </p:txBody>
      </p:sp>
      <p:sp>
        <p:nvSpPr>
          <p:cNvPr id="29" name="Marcador de texto 15">
            <a:extLst>
              <a:ext uri="{FF2B5EF4-FFF2-40B4-BE49-F238E27FC236}">
                <a16:creationId xmlns:a16="http://schemas.microsoft.com/office/drawing/2014/main" id="{BD215A62-CE58-5A40-8F34-663CF9B6DF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87277" y="2993066"/>
            <a:ext cx="729889" cy="418962"/>
          </a:xfrm>
        </p:spPr>
        <p:txBody>
          <a:bodyPr>
            <a:normAutofit/>
          </a:bodyPr>
          <a:lstStyle>
            <a:lvl1pPr algn="just" rtl="0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P.01</a:t>
            </a:r>
          </a:p>
        </p:txBody>
      </p: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B497BDA8-8421-3B42-81A4-19F74C7927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3169" y="4041389"/>
            <a:ext cx="2968438" cy="353207"/>
          </a:xfrm>
        </p:spPr>
        <p:txBody>
          <a:bodyPr numCol="1">
            <a:normAutofit/>
          </a:bodyPr>
          <a:lstStyle>
            <a:lvl1pPr algn="just" rtl="0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n-GB"/>
              <a:t>Subheading Title</a:t>
            </a:r>
          </a:p>
        </p:txBody>
      </p:sp>
      <p:sp>
        <p:nvSpPr>
          <p:cNvPr id="32" name="Marcador de texto 3">
            <a:extLst>
              <a:ext uri="{FF2B5EF4-FFF2-40B4-BE49-F238E27FC236}">
                <a16:creationId xmlns:a16="http://schemas.microsoft.com/office/drawing/2014/main" id="{1546160F-867A-244D-8E88-CD46998AE6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1403" y="3837165"/>
            <a:ext cx="3599141" cy="302553"/>
          </a:xfrm>
        </p:spPr>
        <p:txBody>
          <a:bodyPr numCol="1">
            <a:noAutofit/>
          </a:bodyPr>
          <a:lstStyle>
            <a:lvl1pPr algn="just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n-GB"/>
              <a:t>…………………………………………………….......................</a:t>
            </a:r>
          </a:p>
        </p:txBody>
      </p:sp>
      <p:sp>
        <p:nvSpPr>
          <p:cNvPr id="33" name="Marcador de texto 15">
            <a:extLst>
              <a:ext uri="{FF2B5EF4-FFF2-40B4-BE49-F238E27FC236}">
                <a16:creationId xmlns:a16="http://schemas.microsoft.com/office/drawing/2014/main" id="{EF575985-D360-5E41-8BDC-2D3954DA68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87277" y="3720756"/>
            <a:ext cx="729889" cy="418962"/>
          </a:xfrm>
        </p:spPr>
        <p:txBody>
          <a:bodyPr>
            <a:normAutofit/>
          </a:bodyPr>
          <a:lstStyle>
            <a:lvl1pPr algn="just" rtl="0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P.01</a:t>
            </a:r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619D7DE5-779D-9A4B-9FD8-5B4C17758E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3169" y="4754718"/>
            <a:ext cx="2974806" cy="358968"/>
          </a:xfrm>
        </p:spPr>
        <p:txBody>
          <a:bodyPr numCol="1">
            <a:normAutofit/>
          </a:bodyPr>
          <a:lstStyle>
            <a:lvl1pPr algn="just" rtl="0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n-GB"/>
              <a:t>Subheading Title</a:t>
            </a:r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354F9FAF-4483-154B-863B-3F4E682EA9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91403" y="4550494"/>
            <a:ext cx="3599141" cy="302552"/>
          </a:xfrm>
        </p:spPr>
        <p:txBody>
          <a:bodyPr numCol="1">
            <a:noAutofit/>
          </a:bodyPr>
          <a:lstStyle>
            <a:lvl1pPr algn="just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n-GB"/>
              <a:t>…………………………………………………….......................</a:t>
            </a:r>
          </a:p>
        </p:txBody>
      </p:sp>
      <p:sp>
        <p:nvSpPr>
          <p:cNvPr id="37" name="Marcador de texto 15">
            <a:extLst>
              <a:ext uri="{FF2B5EF4-FFF2-40B4-BE49-F238E27FC236}">
                <a16:creationId xmlns:a16="http://schemas.microsoft.com/office/drawing/2014/main" id="{3C9D978E-0D85-CF4B-ACA3-2FE2F3B2D1E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87277" y="4434084"/>
            <a:ext cx="729889" cy="418962"/>
          </a:xfrm>
        </p:spPr>
        <p:txBody>
          <a:bodyPr>
            <a:normAutofit/>
          </a:bodyPr>
          <a:lstStyle>
            <a:lvl1pPr algn="just" rtl="0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P.01</a:t>
            </a:r>
          </a:p>
        </p:txBody>
      </p:sp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8669" y="372639"/>
            <a:ext cx="2978350" cy="341567"/>
          </a:xfrm>
        </p:spPr>
        <p:txBody>
          <a:bodyPr>
            <a:normAutofit/>
          </a:bodyPr>
          <a:lstStyle>
            <a:lvl1pPr rtl="0">
              <a:defRPr sz="13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84" name="Marcador de texto 83">
            <a:extLst>
              <a:ext uri="{FF2B5EF4-FFF2-40B4-BE49-F238E27FC236}">
                <a16:creationId xmlns:a16="http://schemas.microsoft.com/office/drawing/2014/main" id="{FFB93D1C-610E-6E41-AAF3-2570F64012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15017" y="2275888"/>
            <a:ext cx="2982002" cy="361724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hapter Title</a:t>
            </a:r>
          </a:p>
        </p:txBody>
      </p:sp>
      <p:sp>
        <p:nvSpPr>
          <p:cNvPr id="85" name="Marcador de texto 83">
            <a:extLst>
              <a:ext uri="{FF2B5EF4-FFF2-40B4-BE49-F238E27FC236}">
                <a16:creationId xmlns:a16="http://schemas.microsoft.com/office/drawing/2014/main" id="{74986D2B-5EDB-7A46-BCB2-9666E8491E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5017" y="2990540"/>
            <a:ext cx="2982002" cy="361724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hapter Title</a:t>
            </a:r>
          </a:p>
        </p:txBody>
      </p:sp>
      <p:sp>
        <p:nvSpPr>
          <p:cNvPr id="86" name="Marcador de texto 83">
            <a:extLst>
              <a:ext uri="{FF2B5EF4-FFF2-40B4-BE49-F238E27FC236}">
                <a16:creationId xmlns:a16="http://schemas.microsoft.com/office/drawing/2014/main" id="{547051A1-13A5-9141-B86E-40BE492F2C0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15017" y="3714070"/>
            <a:ext cx="2982002" cy="358968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hapter Title</a:t>
            </a:r>
          </a:p>
        </p:txBody>
      </p:sp>
      <p:sp>
        <p:nvSpPr>
          <p:cNvPr id="87" name="Marcador de texto 83">
            <a:extLst>
              <a:ext uri="{FF2B5EF4-FFF2-40B4-BE49-F238E27FC236}">
                <a16:creationId xmlns:a16="http://schemas.microsoft.com/office/drawing/2014/main" id="{BBFDF298-028C-DD47-95FB-C8F8D40599D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15017" y="4433160"/>
            <a:ext cx="2991110" cy="358968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hapter Title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15017" y="1552358"/>
            <a:ext cx="2974806" cy="361724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hapter Title</a:t>
            </a:r>
          </a:p>
        </p:txBody>
      </p:sp>
      <p:sp>
        <p:nvSpPr>
          <p:cNvPr id="89" name="Marcador de texto 3">
            <a:extLst>
              <a:ext uri="{FF2B5EF4-FFF2-40B4-BE49-F238E27FC236}">
                <a16:creationId xmlns:a16="http://schemas.microsoft.com/office/drawing/2014/main" id="{24F72723-FC1D-4A40-A3CE-0C68981C8F1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189298" y="1872681"/>
            <a:ext cx="2974806" cy="332616"/>
          </a:xfrm>
        </p:spPr>
        <p:txBody>
          <a:bodyPr numCol="1">
            <a:normAutofit/>
          </a:bodyPr>
          <a:lstStyle>
            <a:lvl1pPr algn="just" rtl="0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n-GB"/>
              <a:t>Subheading Title</a:t>
            </a:r>
          </a:p>
        </p:txBody>
      </p:sp>
      <p:sp>
        <p:nvSpPr>
          <p:cNvPr id="90" name="Marcador de texto 3">
            <a:extLst>
              <a:ext uri="{FF2B5EF4-FFF2-40B4-BE49-F238E27FC236}">
                <a16:creationId xmlns:a16="http://schemas.microsoft.com/office/drawing/2014/main" id="{D3C329BC-37ED-3642-B6E7-18E8C2DA4A8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757532" y="1668457"/>
            <a:ext cx="3599141" cy="297766"/>
          </a:xfrm>
        </p:spPr>
        <p:txBody>
          <a:bodyPr numCol="1">
            <a:noAutofit/>
          </a:bodyPr>
          <a:lstStyle>
            <a:lvl1pPr algn="just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n-GB"/>
              <a:t>…………………………………………………….......................</a:t>
            </a:r>
          </a:p>
        </p:txBody>
      </p:sp>
      <p:sp>
        <p:nvSpPr>
          <p:cNvPr id="91" name="Marcador de texto 15">
            <a:extLst>
              <a:ext uri="{FF2B5EF4-FFF2-40B4-BE49-F238E27FC236}">
                <a16:creationId xmlns:a16="http://schemas.microsoft.com/office/drawing/2014/main" id="{B3ECF550-48B2-2843-A029-DE80F2570CE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53406" y="1552047"/>
            <a:ext cx="729889" cy="418962"/>
          </a:xfrm>
        </p:spPr>
        <p:txBody>
          <a:bodyPr>
            <a:normAutofit/>
          </a:bodyPr>
          <a:lstStyle>
            <a:lvl1pPr algn="just" rtl="0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P.01</a:t>
            </a:r>
          </a:p>
        </p:txBody>
      </p:sp>
      <p:sp>
        <p:nvSpPr>
          <p:cNvPr id="92" name="Marcador de texto 3">
            <a:extLst>
              <a:ext uri="{FF2B5EF4-FFF2-40B4-BE49-F238E27FC236}">
                <a16:creationId xmlns:a16="http://schemas.microsoft.com/office/drawing/2014/main" id="{29CFFEB6-D481-4C48-BFC9-24B890AD222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89298" y="2595583"/>
            <a:ext cx="2974806" cy="320363"/>
          </a:xfrm>
        </p:spPr>
        <p:txBody>
          <a:bodyPr numCol="1">
            <a:normAutofit/>
          </a:bodyPr>
          <a:lstStyle>
            <a:lvl1pPr algn="just" rtl="0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n-GB"/>
              <a:t>Subheading Title</a:t>
            </a:r>
          </a:p>
        </p:txBody>
      </p:sp>
      <p:sp>
        <p:nvSpPr>
          <p:cNvPr id="93" name="Marcador de texto 3">
            <a:extLst>
              <a:ext uri="{FF2B5EF4-FFF2-40B4-BE49-F238E27FC236}">
                <a16:creationId xmlns:a16="http://schemas.microsoft.com/office/drawing/2014/main" id="{DCF22A84-AB91-C041-B8E7-7AD902FD02E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757532" y="2391359"/>
            <a:ext cx="3599141" cy="311501"/>
          </a:xfrm>
        </p:spPr>
        <p:txBody>
          <a:bodyPr numCol="1">
            <a:noAutofit/>
          </a:bodyPr>
          <a:lstStyle>
            <a:lvl1pPr algn="just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n-GB"/>
              <a:t>…………………………………………………….......................</a:t>
            </a:r>
          </a:p>
        </p:txBody>
      </p:sp>
      <p:sp>
        <p:nvSpPr>
          <p:cNvPr id="94" name="Marcador de texto 15">
            <a:extLst>
              <a:ext uri="{FF2B5EF4-FFF2-40B4-BE49-F238E27FC236}">
                <a16:creationId xmlns:a16="http://schemas.microsoft.com/office/drawing/2014/main" id="{8F9EFB6F-1C56-FF4E-983B-DD5BF775159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1153406" y="2274950"/>
            <a:ext cx="729889" cy="418962"/>
          </a:xfrm>
        </p:spPr>
        <p:txBody>
          <a:bodyPr>
            <a:normAutofit/>
          </a:bodyPr>
          <a:lstStyle>
            <a:lvl1pPr algn="just" rtl="0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P.01</a:t>
            </a:r>
          </a:p>
        </p:txBody>
      </p:sp>
      <p:sp>
        <p:nvSpPr>
          <p:cNvPr id="95" name="Marcador de texto 3">
            <a:extLst>
              <a:ext uri="{FF2B5EF4-FFF2-40B4-BE49-F238E27FC236}">
                <a16:creationId xmlns:a16="http://schemas.microsoft.com/office/drawing/2014/main" id="{7A380FF4-DE32-0B49-BA56-808050E0D48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89297" y="3313699"/>
            <a:ext cx="2968439" cy="329937"/>
          </a:xfrm>
        </p:spPr>
        <p:txBody>
          <a:bodyPr numCol="1">
            <a:normAutofit/>
          </a:bodyPr>
          <a:lstStyle>
            <a:lvl1pPr algn="just" rtl="0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n-GB"/>
              <a:t>Subheading Title</a:t>
            </a:r>
          </a:p>
        </p:txBody>
      </p:sp>
      <p:sp>
        <p:nvSpPr>
          <p:cNvPr id="96" name="Marcador de texto 3">
            <a:extLst>
              <a:ext uri="{FF2B5EF4-FFF2-40B4-BE49-F238E27FC236}">
                <a16:creationId xmlns:a16="http://schemas.microsoft.com/office/drawing/2014/main" id="{F90E99F0-5358-DD48-8D52-BBC6648DD9D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757532" y="3109475"/>
            <a:ext cx="3599141" cy="309203"/>
          </a:xfrm>
        </p:spPr>
        <p:txBody>
          <a:bodyPr numCol="1">
            <a:noAutofit/>
          </a:bodyPr>
          <a:lstStyle>
            <a:lvl1pPr algn="just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n-GB"/>
              <a:t>…………………………………………………….......................</a:t>
            </a:r>
          </a:p>
        </p:txBody>
      </p:sp>
      <p:sp>
        <p:nvSpPr>
          <p:cNvPr id="97" name="Marcador de texto 15">
            <a:extLst>
              <a:ext uri="{FF2B5EF4-FFF2-40B4-BE49-F238E27FC236}">
                <a16:creationId xmlns:a16="http://schemas.microsoft.com/office/drawing/2014/main" id="{8865AF38-3DF9-C748-9434-4121CA979ED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1153406" y="2993066"/>
            <a:ext cx="729889" cy="418962"/>
          </a:xfrm>
        </p:spPr>
        <p:txBody>
          <a:bodyPr>
            <a:normAutofit/>
          </a:bodyPr>
          <a:lstStyle>
            <a:lvl1pPr algn="just" rtl="0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P.01</a:t>
            </a:r>
          </a:p>
        </p:txBody>
      </p:sp>
      <p:sp>
        <p:nvSpPr>
          <p:cNvPr id="98" name="Marcador de texto 3">
            <a:extLst>
              <a:ext uri="{FF2B5EF4-FFF2-40B4-BE49-F238E27FC236}">
                <a16:creationId xmlns:a16="http://schemas.microsoft.com/office/drawing/2014/main" id="{12D15972-AEAA-2F46-9AE7-22657A557DC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9298" y="4041389"/>
            <a:ext cx="2968438" cy="321337"/>
          </a:xfrm>
        </p:spPr>
        <p:txBody>
          <a:bodyPr numCol="1">
            <a:normAutofit/>
          </a:bodyPr>
          <a:lstStyle>
            <a:lvl1pPr algn="just" rtl="0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n-GB"/>
              <a:t>Subheading Title</a:t>
            </a:r>
          </a:p>
        </p:txBody>
      </p:sp>
      <p:sp>
        <p:nvSpPr>
          <p:cNvPr id="99" name="Marcador de texto 3">
            <a:extLst>
              <a:ext uri="{FF2B5EF4-FFF2-40B4-BE49-F238E27FC236}">
                <a16:creationId xmlns:a16="http://schemas.microsoft.com/office/drawing/2014/main" id="{A4760ED4-46A2-A445-B4CE-F9805FA9277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757532" y="3837165"/>
            <a:ext cx="3599141" cy="302553"/>
          </a:xfrm>
        </p:spPr>
        <p:txBody>
          <a:bodyPr numCol="1">
            <a:noAutofit/>
          </a:bodyPr>
          <a:lstStyle>
            <a:lvl1pPr algn="just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n-GB"/>
              <a:t>…………………………………………………….......................</a:t>
            </a:r>
          </a:p>
        </p:txBody>
      </p:sp>
      <p:sp>
        <p:nvSpPr>
          <p:cNvPr id="100" name="Marcador de texto 15">
            <a:extLst>
              <a:ext uri="{FF2B5EF4-FFF2-40B4-BE49-F238E27FC236}">
                <a16:creationId xmlns:a16="http://schemas.microsoft.com/office/drawing/2014/main" id="{FEB0E95D-338A-3346-BB70-C8F6FA0DD87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1153406" y="3720756"/>
            <a:ext cx="729889" cy="418962"/>
          </a:xfrm>
        </p:spPr>
        <p:txBody>
          <a:bodyPr>
            <a:normAutofit/>
          </a:bodyPr>
          <a:lstStyle>
            <a:lvl1pPr algn="just" rtl="0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P.01</a:t>
            </a:r>
          </a:p>
        </p:txBody>
      </p:sp>
      <p:sp>
        <p:nvSpPr>
          <p:cNvPr id="101" name="Marcador de texto 3">
            <a:extLst>
              <a:ext uri="{FF2B5EF4-FFF2-40B4-BE49-F238E27FC236}">
                <a16:creationId xmlns:a16="http://schemas.microsoft.com/office/drawing/2014/main" id="{A3F81034-DEB8-AF47-B75A-EC44FCFFBB4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89298" y="4754718"/>
            <a:ext cx="2974806" cy="321846"/>
          </a:xfrm>
        </p:spPr>
        <p:txBody>
          <a:bodyPr numCol="1">
            <a:normAutofit/>
          </a:bodyPr>
          <a:lstStyle>
            <a:lvl1pPr algn="just" rtl="0"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n-GB"/>
              <a:t>Subheading Title</a:t>
            </a:r>
          </a:p>
        </p:txBody>
      </p:sp>
      <p:sp>
        <p:nvSpPr>
          <p:cNvPr id="102" name="Marcador de texto 3">
            <a:extLst>
              <a:ext uri="{FF2B5EF4-FFF2-40B4-BE49-F238E27FC236}">
                <a16:creationId xmlns:a16="http://schemas.microsoft.com/office/drawing/2014/main" id="{2A538B8E-41CD-4341-AED6-2FFA34B3F03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757532" y="4550493"/>
            <a:ext cx="3599141" cy="321337"/>
          </a:xfrm>
        </p:spPr>
        <p:txBody>
          <a:bodyPr numCol="1">
            <a:noAutofit/>
          </a:bodyPr>
          <a:lstStyle>
            <a:lvl1pPr algn="just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000"/>
            </a:lvl2pPr>
          </a:lstStyle>
          <a:p>
            <a:pPr lvl="0"/>
            <a:r>
              <a:rPr lang="en-GB"/>
              <a:t>…………………………………………………….......................</a:t>
            </a:r>
          </a:p>
        </p:txBody>
      </p:sp>
      <p:sp>
        <p:nvSpPr>
          <p:cNvPr id="103" name="Marcador de texto 15">
            <a:extLst>
              <a:ext uri="{FF2B5EF4-FFF2-40B4-BE49-F238E27FC236}">
                <a16:creationId xmlns:a16="http://schemas.microsoft.com/office/drawing/2014/main" id="{173C5E62-67BC-9C45-8601-618E1D179FB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1153406" y="4434084"/>
            <a:ext cx="729889" cy="418962"/>
          </a:xfrm>
        </p:spPr>
        <p:txBody>
          <a:bodyPr>
            <a:normAutofit/>
          </a:bodyPr>
          <a:lstStyle>
            <a:lvl1pPr algn="just" rtl="0">
              <a:defRPr sz="20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P.01</a:t>
            </a:r>
          </a:p>
        </p:txBody>
      </p:sp>
      <p:sp>
        <p:nvSpPr>
          <p:cNvPr id="104" name="Marcador de texto 83">
            <a:extLst>
              <a:ext uri="{FF2B5EF4-FFF2-40B4-BE49-F238E27FC236}">
                <a16:creationId xmlns:a16="http://schemas.microsoft.com/office/drawing/2014/main" id="{967DFE4E-11D5-9B48-9787-7C376FDD573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81146" y="2275888"/>
            <a:ext cx="2971542" cy="314908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hapter Title</a:t>
            </a:r>
          </a:p>
        </p:txBody>
      </p:sp>
      <p:sp>
        <p:nvSpPr>
          <p:cNvPr id="105" name="Marcador de texto 83">
            <a:extLst>
              <a:ext uri="{FF2B5EF4-FFF2-40B4-BE49-F238E27FC236}">
                <a16:creationId xmlns:a16="http://schemas.microsoft.com/office/drawing/2014/main" id="{A66AEF34-CCE3-244B-9A73-A752C1D152B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181146" y="2990540"/>
            <a:ext cx="2968438" cy="323159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hapter Title</a:t>
            </a:r>
          </a:p>
        </p:txBody>
      </p:sp>
      <p:sp>
        <p:nvSpPr>
          <p:cNvPr id="106" name="Marcador de texto 83">
            <a:extLst>
              <a:ext uri="{FF2B5EF4-FFF2-40B4-BE49-F238E27FC236}">
                <a16:creationId xmlns:a16="http://schemas.microsoft.com/office/drawing/2014/main" id="{2EC5676D-D773-CF40-86EC-47E332356C7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181146" y="3714070"/>
            <a:ext cx="2982958" cy="321337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hapter Title</a:t>
            </a:r>
          </a:p>
        </p:txBody>
      </p:sp>
      <p:sp>
        <p:nvSpPr>
          <p:cNvPr id="107" name="Marcador de texto 83">
            <a:extLst>
              <a:ext uri="{FF2B5EF4-FFF2-40B4-BE49-F238E27FC236}">
                <a16:creationId xmlns:a16="http://schemas.microsoft.com/office/drawing/2014/main" id="{AFC92137-6235-2146-8DDC-3CC348067A2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181145" y="4433160"/>
            <a:ext cx="2974805" cy="314908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hapter Title</a:t>
            </a:r>
          </a:p>
        </p:txBody>
      </p:sp>
      <p:sp>
        <p:nvSpPr>
          <p:cNvPr id="108" name="Marcador de texto 83">
            <a:extLst>
              <a:ext uri="{FF2B5EF4-FFF2-40B4-BE49-F238E27FC236}">
                <a16:creationId xmlns:a16="http://schemas.microsoft.com/office/drawing/2014/main" id="{8F8F59DA-8014-C044-83F5-3C1BA460C2B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81146" y="1552358"/>
            <a:ext cx="2982958" cy="314908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hapter Title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15018" y="647835"/>
            <a:ext cx="2991110" cy="431800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dex</a:t>
            </a:r>
          </a:p>
        </p:txBody>
      </p:sp>
    </p:spTree>
    <p:extLst>
      <p:ext uri="{BB962C8B-B14F-4D97-AF65-F5344CB8AC3E}">
        <p14:creationId xmlns:p14="http://schemas.microsoft.com/office/powerpoint/2010/main" val="3877413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2F91189-A08B-4F52-8B47-3F59B2514A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6531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2F91189-A08B-4F52-8B47-3F59B2514A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11268590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</a:p>
          <a:p>
            <a:pPr lvl="0"/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11268591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67F06FF-74A9-2E4A-9F48-78DDA1A238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763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1DDC1D-9B7A-48BA-8614-1B4C558F12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724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C1DDC1D-9B7A-48BA-8614-1B4C558F12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5334298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11262706" cy="1273612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	• Insert text here</a:t>
            </a:r>
            <a:br>
              <a:rPr lang="en-GB"/>
            </a:br>
            <a:r>
              <a:rPr lang="en-GB"/>
              <a:t>     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0" y="366676"/>
            <a:ext cx="11259303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>
                <a:latin typeface="+mn-lt"/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19B682D-98C8-6142-85E9-8149CBD195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7956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_Column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68C1FA-95AD-42BA-908C-E060ABEF97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349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68C1FA-95AD-42BA-908C-E060ABEF9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654" y="609644"/>
            <a:ext cx="11257119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5541" y="1740662"/>
            <a:ext cx="5320097" cy="1391925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dui, gravida ac </a:t>
            </a:r>
            <a:r>
              <a:rPr lang="en-GB" err="1"/>
              <a:t>ornare</a:t>
            </a:r>
            <a:r>
              <a:rPr lang="en-GB"/>
              <a:t> ac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943" y="366676"/>
            <a:ext cx="11257120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BD8A9A29-247E-EA46-8CD4-1758841A8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541" y="3176718"/>
            <a:ext cx="5320097" cy="36382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5271E3B7-3FD3-8440-9710-E3439F3EE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5541" y="3540538"/>
            <a:ext cx="5320098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21" name="Marcador de texto 14">
            <a:extLst>
              <a:ext uri="{FF2B5EF4-FFF2-40B4-BE49-F238E27FC236}">
                <a16:creationId xmlns:a16="http://schemas.microsoft.com/office/drawing/2014/main" id="{01CE7070-5CE0-8D45-A606-20C768D30A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0977" y="1740662"/>
            <a:ext cx="5320097" cy="1391925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dui, gravida ac </a:t>
            </a:r>
            <a:r>
              <a:rPr lang="en-GB" err="1"/>
              <a:t>ornare</a:t>
            </a:r>
            <a:r>
              <a:rPr lang="en-GB"/>
              <a:t> ac.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404E435A-E585-1841-9763-026093A593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0977" y="3176718"/>
            <a:ext cx="5320097" cy="36382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23" name="Marcador de texto 14">
            <a:extLst>
              <a:ext uri="{FF2B5EF4-FFF2-40B4-BE49-F238E27FC236}">
                <a16:creationId xmlns:a16="http://schemas.microsoft.com/office/drawing/2014/main" id="{5AB8C3F2-42FD-F745-A334-79067A11A4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50977" y="3540538"/>
            <a:ext cx="5320098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pic>
        <p:nvPicPr>
          <p:cNvPr id="25" name="Gráfico 24">
            <a:extLst>
              <a:ext uri="{FF2B5EF4-FFF2-40B4-BE49-F238E27FC236}">
                <a16:creationId xmlns:a16="http://schemas.microsoft.com/office/drawing/2014/main" id="{13C623E7-0B4E-7B4B-9050-79C0DA76EC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D4AE0868-A0F4-264A-9EA9-07A81DB503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3097886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o_Enfasis_Fondo_Bl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8D4605-FB71-4CE1-9776-FD9249143F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785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8D4605-FB71-4CE1-9776-FD9249143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 vert="horz"/>
          <a:lstStyle>
            <a:lvl1pPr rtl="0">
              <a:defRPr sz="5000"/>
            </a:lvl1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 rtl="0">
              <a:defRPr sz="50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9A1EC2-E296-1C49-B7C5-AFC158D0F2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15203862-1283-E34D-BE23-248C9F6C36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510093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o_Enfasis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1F9AF07-E65F-4498-AFFF-873BDCB74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30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1F9AF07-E65F-4498-AFFF-873BDCB74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 vert="horz"/>
          <a:lstStyle>
            <a:lvl1pPr rtl="0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 rtl="0">
              <a:defRPr sz="5000" b="1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CD7EA10-D8A9-F847-AA68-9AEC57ED86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E485CB09-844D-904F-85A5-BB2AFEDB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0378999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5687E19-E71E-4487-9A91-882EFE476D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526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5687E19-E71E-4487-9A91-882EFE476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D505DD84-3AB6-8846-A315-20A1D68590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487284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92F992C-416A-45DE-8C2E-17766B6A3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974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92F992C-416A-45DE-8C2E-17766B6A3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B70B12B-8EC8-A743-A48B-40F9957BD415}"/>
              </a:ext>
            </a:extLst>
          </p:cNvPr>
          <p:cNvSpPr/>
          <p:nvPr userDrawn="1"/>
        </p:nvSpPr>
        <p:spPr>
          <a:xfrm>
            <a:off x="5375275" y="549275"/>
            <a:ext cx="5764188" cy="57641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7"/>
            <a:ext cx="5746065" cy="576418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A1802407-72B2-964E-B4A9-6250E65E73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8343479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xt_Imagen_Redonda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D671D26-56B0-40E3-8CA3-018957E33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610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D671D26-56B0-40E3-8CA3-018957E33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7" y="2461480"/>
            <a:ext cx="4595521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6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D44B2B31-AADE-2D40-A3C9-1A8A61B1489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770CF6B8-8544-A549-84E5-D504D346D2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7239720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o_Con_Imagen_Cuadra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CA1D93-E337-4F61-A0EC-6411C1413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838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CA1D93-E337-4F61-A0EC-6411C1413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3704934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3704934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24A2D91-FE07-DD4B-8E90-1BD3F7A378A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95775" y="549275"/>
            <a:ext cx="7379970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F3BB164-BE43-B241-9BF7-49B8651FC68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97F4A28-618B-D442-A382-B99307487F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6974617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o_Con_Imagenes_Cuadrad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70A3A0-2559-4FC8-8CD3-EEFCBACB34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2393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70A3A0-2559-4FC8-8CD3-EEFCBACB34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11251681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1125168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E166127-948E-434C-90AC-DEE04C3D91A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15938" y="1628776"/>
            <a:ext cx="5508626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/>
              <a:t>Imagen </a:t>
            </a:r>
          </a:p>
        </p:txBody>
      </p:sp>
      <p:sp>
        <p:nvSpPr>
          <p:cNvPr id="19" name="Marcador de posición de imagen 9">
            <a:extLst>
              <a:ext uri="{FF2B5EF4-FFF2-40B4-BE49-F238E27FC236}">
                <a16:creationId xmlns:a16="http://schemas.microsoft.com/office/drawing/2014/main" id="{FD434FA2-08C3-B04D-956F-2D1EAED7F4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7438" y="1628775"/>
            <a:ext cx="5510442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/>
              <a:t>Imagen </a:t>
            </a:r>
          </a:p>
        </p:txBody>
      </p:sp>
      <p:pic>
        <p:nvPicPr>
          <p:cNvPr id="20" name="Gráfico 19">
            <a:extLst>
              <a:ext uri="{FF2B5EF4-FFF2-40B4-BE49-F238E27FC236}">
                <a16:creationId xmlns:a16="http://schemas.microsoft.com/office/drawing/2014/main" id="{138381B1-B5F7-6D41-8F03-FA5AF16419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F526D8D0-1560-7947-8798-DAB6816951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985742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6FB349-999D-48B7-8785-3F57B4E3A7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70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6FB349-999D-48B7-8785-3F57B4E3A7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8669" y="372639"/>
            <a:ext cx="2978350" cy="341567"/>
          </a:xfrm>
        </p:spPr>
        <p:txBody>
          <a:bodyPr>
            <a:normAutofit/>
          </a:bodyPr>
          <a:lstStyle>
            <a:lvl1pPr rtl="0">
              <a:defRPr sz="13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70568" y="1425883"/>
            <a:ext cx="788077" cy="4784281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1.</a:t>
            </a:r>
            <a:br>
              <a:rPr lang="en-GB"/>
            </a:br>
            <a:r>
              <a:rPr lang="en-GB"/>
              <a:t>2.</a:t>
            </a:r>
            <a:br>
              <a:rPr lang="en-GB"/>
            </a:br>
            <a:r>
              <a:rPr lang="en-GB"/>
              <a:t>3.</a:t>
            </a:r>
            <a:br>
              <a:rPr lang="en-GB"/>
            </a:br>
            <a:r>
              <a:rPr lang="en-GB"/>
              <a:t>4.</a:t>
            </a:r>
            <a:br>
              <a:rPr lang="en-GB"/>
            </a:br>
            <a:r>
              <a:rPr lang="en-GB"/>
              <a:t>5.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15018" y="647835"/>
            <a:ext cx="2991110" cy="431800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dex</a:t>
            </a:r>
          </a:p>
        </p:txBody>
      </p:sp>
      <p:sp>
        <p:nvSpPr>
          <p:cNvPr id="44" name="Marcador de texto 83">
            <a:extLst>
              <a:ext uri="{FF2B5EF4-FFF2-40B4-BE49-F238E27FC236}">
                <a16:creationId xmlns:a16="http://schemas.microsoft.com/office/drawing/2014/main" id="{CBF29B9B-8E00-ED48-AEBE-65C3714F5EA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100818" y="1425883"/>
            <a:ext cx="5896651" cy="4784281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Chapter Title</a:t>
            </a:r>
            <a:br>
              <a:rPr lang="en-GB"/>
            </a:br>
            <a:r>
              <a:rPr lang="en-GB"/>
              <a:t>Chapter Title</a:t>
            </a:r>
            <a:br>
              <a:rPr lang="en-GB"/>
            </a:br>
            <a:r>
              <a:rPr lang="en-GB"/>
              <a:t>Chapter Title</a:t>
            </a:r>
            <a:br>
              <a:rPr lang="en-GB"/>
            </a:br>
            <a:r>
              <a:rPr lang="en-GB"/>
              <a:t>Chapter Title</a:t>
            </a:r>
            <a:br>
              <a:rPr lang="en-GB"/>
            </a:br>
            <a:r>
              <a:rPr lang="en-GB"/>
              <a:t>Chapter Title</a:t>
            </a: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008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8900CB-E0AC-4A43-9380-38B8197E10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8621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8900CB-E0AC-4A43-9380-38B8197E1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3887112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49" y="1745320"/>
            <a:ext cx="3881226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47" y="2461480"/>
            <a:ext cx="3881225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" y="366676"/>
            <a:ext cx="3887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03724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5" name="Marcador de posición de imagen 9">
            <a:extLst>
              <a:ext uri="{FF2B5EF4-FFF2-40B4-BE49-F238E27FC236}">
                <a16:creationId xmlns:a16="http://schemas.microsoft.com/office/drawing/2014/main" id="{4DF4394C-AC73-B248-B9C9-EE57E9E5441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75612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9BDDDDE0-961B-8947-BB2E-8F6F758606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7" name="Marcador de texto 2">
            <a:extLst>
              <a:ext uri="{FF2B5EF4-FFF2-40B4-BE49-F238E27FC236}">
                <a16:creationId xmlns:a16="http://schemas.microsoft.com/office/drawing/2014/main" id="{64326B59-DC1B-884E-BD3B-6335375322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0567080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BAECF0-C28F-4108-8693-2861563FD2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939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BAECF0-C28F-4108-8693-2861563FD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5" y="609644"/>
            <a:ext cx="3704934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51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0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3" y="366676"/>
            <a:ext cx="3704934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10521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02795F5-6C12-834F-B019-D7809BB331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79439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3" name="Marcador de posición de imagen 9">
            <a:extLst>
              <a:ext uri="{FF2B5EF4-FFF2-40B4-BE49-F238E27FC236}">
                <a16:creationId xmlns:a16="http://schemas.microsoft.com/office/drawing/2014/main" id="{2AC0C1AC-37D1-D940-8C55-C962846D9A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0521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4" name="Marcador de posición de imagen 9">
            <a:extLst>
              <a:ext uri="{FF2B5EF4-FFF2-40B4-BE49-F238E27FC236}">
                <a16:creationId xmlns:a16="http://schemas.microsoft.com/office/drawing/2014/main" id="{C6F7ED5A-3746-7945-9845-224AFBD2E4B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979439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B00FAABF-2390-4848-A912-EC781DED91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8" name="Marcador de texto 2">
            <a:extLst>
              <a:ext uri="{FF2B5EF4-FFF2-40B4-BE49-F238E27FC236}">
                <a16:creationId xmlns:a16="http://schemas.microsoft.com/office/drawing/2014/main" id="{49922441-6D6B-D444-BB01-FD35AF058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166761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o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32A83C-B541-4A38-9791-2B609EA4DC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8895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32A83C-B541-4A38-9791-2B609EA4DC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399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6216" y="5444414"/>
            <a:ext cx="3235301" cy="587225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1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1429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0" name="Marcador de posición de imagen 16">
            <a:extLst>
              <a:ext uri="{FF2B5EF4-FFF2-40B4-BE49-F238E27FC236}">
                <a16:creationId xmlns:a16="http://schemas.microsoft.com/office/drawing/2014/main" id="{C9BE40AB-DD10-EA46-9CA3-54E8B95B7B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89867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1" name="Marcador de posición de imagen 16">
            <a:extLst>
              <a:ext uri="{FF2B5EF4-FFF2-40B4-BE49-F238E27FC236}">
                <a16:creationId xmlns:a16="http://schemas.microsoft.com/office/drawing/2014/main" id="{FD619271-213E-D646-A710-71914F2B32C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88472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1429" y="4984893"/>
            <a:ext cx="3240088" cy="444500"/>
          </a:xfrm>
        </p:spPr>
        <p:txBody>
          <a:bodyPr/>
          <a:lstStyle>
            <a:lvl1pPr algn="ctr" rtl="0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Body Subhead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41FEAD28-B0C6-7045-ACB6-9220400C01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002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3DC58B0B-28AC-3741-81D4-FCAC09C941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5241" y="4984893"/>
            <a:ext cx="3240088" cy="444500"/>
          </a:xfrm>
        </p:spPr>
        <p:txBody>
          <a:bodyPr/>
          <a:lstStyle>
            <a:lvl1pPr algn="ctr" rtl="0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Body Subhead</a:t>
            </a: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89EEEAB2-D851-3C4A-AD34-0D6D4B6A1D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9047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A73ED5A7-EBB5-C74D-A8C8-D8B8868EC5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5691" y="4984893"/>
            <a:ext cx="3240088" cy="444500"/>
          </a:xfrm>
        </p:spPr>
        <p:txBody>
          <a:bodyPr/>
          <a:lstStyle>
            <a:lvl1pPr algn="ctr" rtl="0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Body Subhead</a:t>
            </a:r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E9C1027A-D609-B44D-B011-C5BC896EF5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791DDE1D-4495-FC40-8CAE-8A84E9BF83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5175625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am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3E2559-F0AB-4648-B58C-B4494BF49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308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3E2559-F0AB-4648-B58C-B4494BF49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0" name="Marcador de texto 2">
            <a:extLst>
              <a:ext uri="{FF2B5EF4-FFF2-40B4-BE49-F238E27FC236}">
                <a16:creationId xmlns:a16="http://schemas.microsoft.com/office/drawing/2014/main" id="{00CA439B-A2E9-AB47-81AE-731F953664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3437583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am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694EE0-E685-4E7D-821A-9E241579D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799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694EE0-E685-4E7D-821A-9E241579D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ángulo 17">
            <a:extLst>
              <a:ext uri="{FF2B5EF4-FFF2-40B4-BE49-F238E27FC236}">
                <a16:creationId xmlns:a16="http://schemas.microsoft.com/office/drawing/2014/main" id="{7BF74AC2-6052-DE44-A2F8-685D64C198B3}"/>
              </a:ext>
            </a:extLst>
          </p:cNvPr>
          <p:cNvSpPr/>
          <p:nvPr userDrawn="1"/>
        </p:nvSpPr>
        <p:spPr>
          <a:xfrm>
            <a:off x="6953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84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72FAA048-4B5D-4E46-AC16-7452B6E31003}"/>
              </a:ext>
            </a:extLst>
          </p:cNvPr>
          <p:cNvSpPr/>
          <p:nvPr userDrawn="1"/>
        </p:nvSpPr>
        <p:spPr>
          <a:xfrm>
            <a:off x="35782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0" name="Marcador de posición de imagen 16">
            <a:extLst>
              <a:ext uri="{FF2B5EF4-FFF2-40B4-BE49-F238E27FC236}">
                <a16:creationId xmlns:a16="http://schemas.microsoft.com/office/drawing/2014/main" id="{7738A7D9-3E3A-9B40-A1C7-8018C92133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813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D2301D21-EF7B-7C46-A309-9161F0D613A6}"/>
              </a:ext>
            </a:extLst>
          </p:cNvPr>
          <p:cNvSpPr/>
          <p:nvPr userDrawn="1"/>
        </p:nvSpPr>
        <p:spPr>
          <a:xfrm>
            <a:off x="64611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2" name="Marcador de posición de imagen 16">
            <a:extLst>
              <a:ext uri="{FF2B5EF4-FFF2-40B4-BE49-F238E27FC236}">
                <a16:creationId xmlns:a16="http://schemas.microsoft.com/office/drawing/2014/main" id="{8BDA6A37-0168-9148-B73A-E2361E04F379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642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006BD6CA-9D28-324D-8CAC-1A48D712C4C0}"/>
              </a:ext>
            </a:extLst>
          </p:cNvPr>
          <p:cNvSpPr/>
          <p:nvPr userDrawn="1"/>
        </p:nvSpPr>
        <p:spPr>
          <a:xfrm>
            <a:off x="933767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4" name="Marcador de posición de imagen 16">
            <a:extLst>
              <a:ext uri="{FF2B5EF4-FFF2-40B4-BE49-F238E27FC236}">
                <a16:creationId xmlns:a16="http://schemas.microsoft.com/office/drawing/2014/main" id="{BED1A7FE-CD5F-FB4C-A982-6E2C839CD34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4084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6A1BD156-851D-AA43-AD36-3AC6C87568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3693687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am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7C8049-C6CE-4AD5-B1AF-49CFED0A1E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927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7C8049-C6CE-4AD5-B1AF-49CFED0A1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400" cy="800944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pic>
        <p:nvPicPr>
          <p:cNvPr id="30" name="Gráfico 29">
            <a:extLst>
              <a:ext uri="{FF2B5EF4-FFF2-40B4-BE49-F238E27FC236}">
                <a16:creationId xmlns:a16="http://schemas.microsoft.com/office/drawing/2014/main" id="{453AF884-B1B9-0C48-8FD4-D5D6E6285C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B64CCC92-63D8-E34A-B1B1-C29FCBDE1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8120576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6064CC1-8616-4494-A971-3EE89455C6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016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6064CC1-8616-4494-A971-3EE89455C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 rtl="0"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GB"/>
              <a:t>Lorem </a:t>
            </a:r>
            <a:r>
              <a:rPr lang="en-GB" err="1"/>
              <a:t>ipsumm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53ADC201-6CCF-7040-9003-2487F24AA2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8196481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38A6A3-7888-42F0-9E98-0277D48BE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2407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38A6A3-7888-42F0-9E98-0277D48BE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D3B45862-9E43-9940-8549-F0AC9E09F87A}"/>
              </a:ext>
            </a:extLst>
          </p:cNvPr>
          <p:cNvSpPr/>
          <p:nvPr userDrawn="1"/>
        </p:nvSpPr>
        <p:spPr>
          <a:xfrm>
            <a:off x="0" y="2994668"/>
            <a:ext cx="12192000" cy="38633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 rtl="0"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GB"/>
              <a:t>Lorem </a:t>
            </a:r>
            <a:r>
              <a:rPr lang="en-GB" err="1"/>
              <a:t>ipsumm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2FF1FDC2-D46E-6C49-A565-EC6FC1D2AF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2196311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836E2A-8B47-4FB3-B264-3C4CC52F4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82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836E2A-8B47-4FB3-B264-3C4CC52F4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5" y="624929"/>
            <a:ext cx="11260757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5" y="366676"/>
            <a:ext cx="11260757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6388" y="1632375"/>
            <a:ext cx="5040313" cy="2156988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6" name="Marcador de contenido 6">
            <a:extLst>
              <a:ext uri="{FF2B5EF4-FFF2-40B4-BE49-F238E27FC236}">
                <a16:creationId xmlns:a16="http://schemas.microsoft.com/office/drawing/2014/main" id="{D3585285-DB0A-D049-AE19-C579B133D4D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25158" y="3874851"/>
            <a:ext cx="5031542" cy="243387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35638" y="1634623"/>
            <a:ext cx="5940425" cy="4674102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BCFF5F8B-A429-1045-9905-ED53E0E41D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680849D7-0063-AC44-AE00-A227F515AD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8923864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3E1556-BE90-4FB0-97FE-FB744D387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68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3E1556-BE90-4FB0-97FE-FB744D387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7" y="624929"/>
            <a:ext cx="3701531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7" y="366676"/>
            <a:ext cx="3701531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95776" y="366676"/>
            <a:ext cx="7380288" cy="5942049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905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904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</a:p>
          <a:p>
            <a:pPr lvl="0"/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D2BA8632-997F-3F47-ABDB-2402CD834FE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9E55FAA0-F851-A34F-A62C-AE1C1C2656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950363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96304D-12F7-489E-A891-AFB23591EB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8866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96304D-12F7-489E-A891-AFB23591EB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09259" y="372639"/>
            <a:ext cx="2978350" cy="341567"/>
          </a:xfrm>
        </p:spPr>
        <p:txBody>
          <a:bodyPr>
            <a:normAutofit/>
          </a:bodyPr>
          <a:lstStyle>
            <a:lvl1pPr rtl="0">
              <a:defRPr sz="1300" b="1" cap="all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97988" y="1408171"/>
            <a:ext cx="1306871" cy="890597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05608" y="647835"/>
            <a:ext cx="2991110" cy="431800"/>
          </a:xfrm>
        </p:spPr>
        <p:txBody>
          <a:bodyPr>
            <a:normAutofit/>
          </a:bodyPr>
          <a:lstStyle>
            <a:lvl1pPr rtl="0"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dex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C3542EB-847A-134C-87D5-341B3F888D0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13903" y="228092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/>
            </a:lvl1pPr>
          </a:lstStyle>
          <a:p>
            <a:pPr lvl="0"/>
            <a:r>
              <a:rPr lang="en-GB"/>
              <a:t>Chapter Titl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ED21A4EA-B7DC-2249-9BBA-4D41A99B3CE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13903" y="287528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Chapter Description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18" name="Marcador de texto 83">
            <a:extLst>
              <a:ext uri="{FF2B5EF4-FFF2-40B4-BE49-F238E27FC236}">
                <a16:creationId xmlns:a16="http://schemas.microsoft.com/office/drawing/2014/main" id="{846ACD11-B8D6-D347-834E-2FFC4F76789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85968" y="1408171"/>
            <a:ext cx="1306871" cy="890597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id="{85611C3A-E7BA-8741-B713-7ECF35C208C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301883" y="228092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/>
            </a:lvl1pPr>
          </a:lstStyle>
          <a:p>
            <a:pPr lvl="0"/>
            <a:r>
              <a:rPr lang="en-GB"/>
              <a:t>Chapter Titl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3847668A-0F13-FD40-99C9-7D211293DC7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301883" y="287528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Chapter Description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21" name="Marcador de texto 83">
            <a:extLst>
              <a:ext uri="{FF2B5EF4-FFF2-40B4-BE49-F238E27FC236}">
                <a16:creationId xmlns:a16="http://schemas.microsoft.com/office/drawing/2014/main" id="{2A5ED1A7-3C9E-0A47-A8B4-C2B3AC78C14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58708" y="1408171"/>
            <a:ext cx="1306871" cy="890597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665B95A9-6987-F748-AD20-7165E5E8CEE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174623" y="228092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/>
            </a:lvl1pPr>
          </a:lstStyle>
          <a:p>
            <a:pPr lvl="0"/>
            <a:r>
              <a:rPr lang="en-GB"/>
              <a:t>Chapter Titl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23" name="Marcador de texto 2">
            <a:extLst>
              <a:ext uri="{FF2B5EF4-FFF2-40B4-BE49-F238E27FC236}">
                <a16:creationId xmlns:a16="http://schemas.microsoft.com/office/drawing/2014/main" id="{7991601E-FE13-004A-B235-1C7E12150DA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174623" y="287528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Chapter Description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24" name="Marcador de texto 83">
            <a:extLst>
              <a:ext uri="{FF2B5EF4-FFF2-40B4-BE49-F238E27FC236}">
                <a16:creationId xmlns:a16="http://schemas.microsoft.com/office/drawing/2014/main" id="{B55C8E76-6CFF-6040-8FA8-33F63C85CEB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9039068" y="1408171"/>
            <a:ext cx="1306871" cy="890597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5" name="Marcador de texto 2">
            <a:extLst>
              <a:ext uri="{FF2B5EF4-FFF2-40B4-BE49-F238E27FC236}">
                <a16:creationId xmlns:a16="http://schemas.microsoft.com/office/drawing/2014/main" id="{69111C5F-2E5B-A941-97B9-DF3CB7452A8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054983" y="228092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/>
            </a:lvl1pPr>
          </a:lstStyle>
          <a:p>
            <a:pPr lvl="0"/>
            <a:r>
              <a:rPr lang="en-GB"/>
              <a:t>Chapter Titl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E44F70FF-0454-5A49-B7FE-A299E03161D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054983" y="287528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Chapter Description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27" name="Marcador de texto 83">
            <a:extLst>
              <a:ext uri="{FF2B5EF4-FFF2-40B4-BE49-F238E27FC236}">
                <a16:creationId xmlns:a16="http://schemas.microsoft.com/office/drawing/2014/main" id="{C6EFC7DE-FDA3-344F-BA47-77E74A7AB00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397988" y="3800851"/>
            <a:ext cx="1306871" cy="890597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id="{DEDD6D48-A77A-1B42-A0A7-7C1FA8FB236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13903" y="467360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/>
            </a:lvl1pPr>
          </a:lstStyle>
          <a:p>
            <a:pPr lvl="0"/>
            <a:r>
              <a:rPr lang="en-GB"/>
              <a:t>Chapter Titl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29" name="Marcador de texto 2">
            <a:extLst>
              <a:ext uri="{FF2B5EF4-FFF2-40B4-BE49-F238E27FC236}">
                <a16:creationId xmlns:a16="http://schemas.microsoft.com/office/drawing/2014/main" id="{339E1E00-EF43-9842-A5D4-7D893A6A21DA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13903" y="526796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Chapter Description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0" name="Marcador de texto 83">
            <a:extLst>
              <a:ext uri="{FF2B5EF4-FFF2-40B4-BE49-F238E27FC236}">
                <a16:creationId xmlns:a16="http://schemas.microsoft.com/office/drawing/2014/main" id="{3609BFF5-C0EC-C74B-BAC5-C6247F87A15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285968" y="3800851"/>
            <a:ext cx="1306871" cy="890597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A2D9B95A-6F51-704A-8164-AE4376A52455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301883" y="467360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/>
            </a:lvl1pPr>
          </a:lstStyle>
          <a:p>
            <a:pPr lvl="0"/>
            <a:r>
              <a:rPr lang="en-GB"/>
              <a:t>Chapter Titl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347D8AC6-F6F7-AB40-BDAE-DFA1A20F303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3301883" y="526796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Chapter Description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3" name="Marcador de texto 83">
            <a:extLst>
              <a:ext uri="{FF2B5EF4-FFF2-40B4-BE49-F238E27FC236}">
                <a16:creationId xmlns:a16="http://schemas.microsoft.com/office/drawing/2014/main" id="{2175621C-7D22-9246-842E-EBEBA072199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158708" y="3800851"/>
            <a:ext cx="1306871" cy="890597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4" name="Marcador de texto 2">
            <a:extLst>
              <a:ext uri="{FF2B5EF4-FFF2-40B4-BE49-F238E27FC236}">
                <a16:creationId xmlns:a16="http://schemas.microsoft.com/office/drawing/2014/main" id="{857887B0-767A-9D43-9C2D-CFE8C77727A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174623" y="467360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/>
            </a:lvl1pPr>
          </a:lstStyle>
          <a:p>
            <a:pPr lvl="0"/>
            <a:r>
              <a:rPr lang="en-GB"/>
              <a:t>Chapter Titl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79494816-53D2-E340-A80C-F39EE826D98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174623" y="526796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Chapter Description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6" name="Marcador de texto 83">
            <a:extLst>
              <a:ext uri="{FF2B5EF4-FFF2-40B4-BE49-F238E27FC236}">
                <a16:creationId xmlns:a16="http://schemas.microsoft.com/office/drawing/2014/main" id="{E903AC53-87A3-6E4D-820F-7A4F85097C47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9039068" y="3800851"/>
            <a:ext cx="1306871" cy="890597"/>
          </a:xfr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1300"/>
              </a:spcBef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7" name="Marcador de texto 2">
            <a:extLst>
              <a:ext uri="{FF2B5EF4-FFF2-40B4-BE49-F238E27FC236}">
                <a16:creationId xmlns:a16="http://schemas.microsoft.com/office/drawing/2014/main" id="{46EEBF2D-185D-3F40-90DD-563D0093C87E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9054983" y="467360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/>
            </a:lvl1pPr>
          </a:lstStyle>
          <a:p>
            <a:pPr lvl="0"/>
            <a:r>
              <a:rPr lang="en-GB"/>
              <a:t>Chapter Titl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8" name="Marcador de texto 2">
            <a:extLst>
              <a:ext uri="{FF2B5EF4-FFF2-40B4-BE49-F238E27FC236}">
                <a16:creationId xmlns:a16="http://schemas.microsoft.com/office/drawing/2014/main" id="{F0CFAD44-F620-CD41-8005-F4C6AADCED77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9054983" y="5267961"/>
            <a:ext cx="2613343" cy="645160"/>
          </a:xfrm>
        </p:spPr>
        <p:txBody>
          <a:bodyPr>
            <a:normAutofit/>
          </a:bodyPr>
          <a:lstStyle>
            <a:lvl1pPr rtl="0">
              <a:spcBef>
                <a:spcPts val="400"/>
              </a:spcBef>
              <a:defRPr sz="18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Chapter Description</a:t>
            </a:r>
            <a:br>
              <a:rPr lang="en-GB"/>
            </a:br>
            <a:r>
              <a:rPr lang="en-GB"/>
              <a:t>Max 2 lines</a:t>
            </a:r>
          </a:p>
        </p:txBody>
      </p:sp>
    </p:spTree>
    <p:extLst>
      <p:ext uri="{BB962C8B-B14F-4D97-AF65-F5344CB8AC3E}">
        <p14:creationId xmlns:p14="http://schemas.microsoft.com/office/powerpoint/2010/main" val="281909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0B83DF-DEB7-4E7D-B400-BD6BF9E0C0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8098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0B83DF-DEB7-4E7D-B400-BD6BF9E0C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6" y="624929"/>
            <a:ext cx="5150682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6" y="366676"/>
            <a:ext cx="515068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15144" y="1554855"/>
            <a:ext cx="7561262" cy="4673135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07199" y="1561007"/>
            <a:ext cx="3569657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07198" y="2277167"/>
            <a:ext cx="3569657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</a:p>
          <a:p>
            <a:pPr lvl="0"/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55F83C0-7004-434D-B73C-56FB99990B5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64E4008-824B-7441-B2C4-EB899FC5FE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2102046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21131"/>
              </p:ext>
            </p:extLst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9" name="Diapositiva de think-cell" r:id="rId4" imgW="336" imgH="336" progId="TCLayout.ActiveDocument.1">
                  <p:embed/>
                </p:oleObj>
              </mc:Choice>
              <mc:Fallback>
                <p:oleObj name="Diapositiva de think-cell" r:id="rId4" imgW="336" imgH="33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31367" y="1707053"/>
            <a:ext cx="8160000" cy="18000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lnSpc>
                <a:spcPts val="5189"/>
              </a:lnSpc>
              <a:spcBef>
                <a:spcPts val="9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4000" b="1" i="0" kern="1200" spc="-8" baseline="0" dirty="0" smtClean="0">
                <a:solidFill>
                  <a:schemeClr val="tx1"/>
                </a:solidFill>
                <a:latin typeface="+mj-lt"/>
                <a:ea typeface="Arial" charset="0"/>
                <a:cs typeface="Arial" charset="0"/>
                <a:sym typeface="Gill Sans" charset="0"/>
              </a:defRPr>
            </a:lvl1pPr>
            <a:lvl2pPr marL="800040" indent="-342874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425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257207" indent="-342874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425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425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025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err="1"/>
              <a:t>Click</a:t>
            </a:r>
            <a:r>
              <a:rPr lang="es-ES"/>
              <a:t> to </a:t>
            </a:r>
            <a:r>
              <a:rPr lang="es-ES" err="1"/>
              <a:t>edit</a:t>
            </a:r>
            <a:r>
              <a:rPr lang="es-ES"/>
              <a:t> master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style</a:t>
            </a:r>
            <a:endParaRPr lang="es-ES"/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D0ACA8D6-8CAE-46CE-BC2E-6BB578FFE156}"/>
              </a:ext>
            </a:extLst>
          </p:cNvPr>
          <p:cNvGrpSpPr/>
          <p:nvPr userDrawn="1"/>
        </p:nvGrpSpPr>
        <p:grpSpPr>
          <a:xfrm>
            <a:off x="536635" y="578458"/>
            <a:ext cx="2447296" cy="586143"/>
            <a:chOff x="12458870" y="3449329"/>
            <a:chExt cx="8093075" cy="1938338"/>
          </a:xfrm>
          <a:solidFill>
            <a:schemeClr val="tx2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05DC638-2DFF-45A1-8EBF-109DB35C4F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58870" y="3449329"/>
              <a:ext cx="581025" cy="579438"/>
            </a:xfrm>
            <a:custGeom>
              <a:avLst/>
              <a:gdLst>
                <a:gd name="T0" fmla="*/ 366 w 366"/>
                <a:gd name="T1" fmla="*/ 183 h 365"/>
                <a:gd name="T2" fmla="*/ 362 w 366"/>
                <a:gd name="T3" fmla="*/ 145 h 365"/>
                <a:gd name="T4" fmla="*/ 350 w 366"/>
                <a:gd name="T5" fmla="*/ 111 h 365"/>
                <a:gd name="T6" fmla="*/ 334 w 366"/>
                <a:gd name="T7" fmla="*/ 80 h 365"/>
                <a:gd name="T8" fmla="*/ 312 w 366"/>
                <a:gd name="T9" fmla="*/ 54 h 365"/>
                <a:gd name="T10" fmla="*/ 284 w 366"/>
                <a:gd name="T11" fmla="*/ 32 h 365"/>
                <a:gd name="T12" fmla="*/ 254 w 366"/>
                <a:gd name="T13" fmla="*/ 14 h 365"/>
                <a:gd name="T14" fmla="*/ 220 w 366"/>
                <a:gd name="T15" fmla="*/ 4 h 365"/>
                <a:gd name="T16" fmla="*/ 182 w 366"/>
                <a:gd name="T17" fmla="*/ 0 h 365"/>
                <a:gd name="T18" fmla="*/ 164 w 366"/>
                <a:gd name="T19" fmla="*/ 2 h 365"/>
                <a:gd name="T20" fmla="*/ 128 w 366"/>
                <a:gd name="T21" fmla="*/ 8 h 365"/>
                <a:gd name="T22" fmla="*/ 96 w 366"/>
                <a:gd name="T23" fmla="*/ 22 h 365"/>
                <a:gd name="T24" fmla="*/ 66 w 366"/>
                <a:gd name="T25" fmla="*/ 42 h 365"/>
                <a:gd name="T26" fmla="*/ 42 w 366"/>
                <a:gd name="T27" fmla="*/ 66 h 365"/>
                <a:gd name="T28" fmla="*/ 22 w 366"/>
                <a:gd name="T29" fmla="*/ 96 h 365"/>
                <a:gd name="T30" fmla="*/ 8 w 366"/>
                <a:gd name="T31" fmla="*/ 127 h 365"/>
                <a:gd name="T32" fmla="*/ 0 w 366"/>
                <a:gd name="T33" fmla="*/ 163 h 365"/>
                <a:gd name="T34" fmla="*/ 0 w 366"/>
                <a:gd name="T35" fmla="*/ 183 h 365"/>
                <a:gd name="T36" fmla="*/ 4 w 366"/>
                <a:gd name="T37" fmla="*/ 219 h 365"/>
                <a:gd name="T38" fmla="*/ 14 w 366"/>
                <a:gd name="T39" fmla="*/ 253 h 365"/>
                <a:gd name="T40" fmla="*/ 30 w 366"/>
                <a:gd name="T41" fmla="*/ 285 h 365"/>
                <a:gd name="T42" fmla="*/ 54 w 366"/>
                <a:gd name="T43" fmla="*/ 311 h 365"/>
                <a:gd name="T44" fmla="*/ 80 w 366"/>
                <a:gd name="T45" fmla="*/ 333 h 365"/>
                <a:gd name="T46" fmla="*/ 112 w 366"/>
                <a:gd name="T47" fmla="*/ 351 h 365"/>
                <a:gd name="T48" fmla="*/ 146 w 366"/>
                <a:gd name="T49" fmla="*/ 361 h 365"/>
                <a:gd name="T50" fmla="*/ 182 w 366"/>
                <a:gd name="T51" fmla="*/ 365 h 365"/>
                <a:gd name="T52" fmla="*/ 202 w 366"/>
                <a:gd name="T53" fmla="*/ 363 h 365"/>
                <a:gd name="T54" fmla="*/ 236 w 366"/>
                <a:gd name="T55" fmla="*/ 357 h 365"/>
                <a:gd name="T56" fmla="*/ 270 w 366"/>
                <a:gd name="T57" fmla="*/ 343 h 365"/>
                <a:gd name="T58" fmla="*/ 298 w 366"/>
                <a:gd name="T59" fmla="*/ 323 h 365"/>
                <a:gd name="T60" fmla="*/ 324 w 366"/>
                <a:gd name="T61" fmla="*/ 299 h 365"/>
                <a:gd name="T62" fmla="*/ 344 w 366"/>
                <a:gd name="T63" fmla="*/ 269 h 365"/>
                <a:gd name="T64" fmla="*/ 358 w 366"/>
                <a:gd name="T65" fmla="*/ 237 h 365"/>
                <a:gd name="T66" fmla="*/ 364 w 366"/>
                <a:gd name="T67" fmla="*/ 201 h 365"/>
                <a:gd name="T68" fmla="*/ 366 w 366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365">
                  <a:moveTo>
                    <a:pt x="366" y="183"/>
                  </a:moveTo>
                  <a:lnTo>
                    <a:pt x="366" y="183"/>
                  </a:lnTo>
                  <a:lnTo>
                    <a:pt x="364" y="163"/>
                  </a:lnTo>
                  <a:lnTo>
                    <a:pt x="362" y="145"/>
                  </a:lnTo>
                  <a:lnTo>
                    <a:pt x="358" y="127"/>
                  </a:lnTo>
                  <a:lnTo>
                    <a:pt x="350" y="111"/>
                  </a:lnTo>
                  <a:lnTo>
                    <a:pt x="344" y="96"/>
                  </a:lnTo>
                  <a:lnTo>
                    <a:pt x="334" y="80"/>
                  </a:lnTo>
                  <a:lnTo>
                    <a:pt x="324" y="66"/>
                  </a:lnTo>
                  <a:lnTo>
                    <a:pt x="312" y="54"/>
                  </a:lnTo>
                  <a:lnTo>
                    <a:pt x="298" y="42"/>
                  </a:lnTo>
                  <a:lnTo>
                    <a:pt x="284" y="32"/>
                  </a:lnTo>
                  <a:lnTo>
                    <a:pt x="270" y="22"/>
                  </a:lnTo>
                  <a:lnTo>
                    <a:pt x="254" y="14"/>
                  </a:lnTo>
                  <a:lnTo>
                    <a:pt x="236" y="8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64" y="2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2" y="14"/>
                  </a:lnTo>
                  <a:lnTo>
                    <a:pt x="96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4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1"/>
                  </a:lnTo>
                  <a:lnTo>
                    <a:pt x="8" y="127"/>
                  </a:lnTo>
                  <a:lnTo>
                    <a:pt x="4" y="145"/>
                  </a:lnTo>
                  <a:lnTo>
                    <a:pt x="0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201"/>
                  </a:lnTo>
                  <a:lnTo>
                    <a:pt x="4" y="219"/>
                  </a:lnTo>
                  <a:lnTo>
                    <a:pt x="8" y="237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5"/>
                  </a:lnTo>
                  <a:lnTo>
                    <a:pt x="42" y="299"/>
                  </a:lnTo>
                  <a:lnTo>
                    <a:pt x="54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6" y="343"/>
                  </a:lnTo>
                  <a:lnTo>
                    <a:pt x="112" y="351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4" y="363"/>
                  </a:lnTo>
                  <a:lnTo>
                    <a:pt x="182" y="365"/>
                  </a:lnTo>
                  <a:lnTo>
                    <a:pt x="182" y="365"/>
                  </a:lnTo>
                  <a:lnTo>
                    <a:pt x="202" y="363"/>
                  </a:lnTo>
                  <a:lnTo>
                    <a:pt x="220" y="361"/>
                  </a:lnTo>
                  <a:lnTo>
                    <a:pt x="236" y="357"/>
                  </a:lnTo>
                  <a:lnTo>
                    <a:pt x="254" y="351"/>
                  </a:lnTo>
                  <a:lnTo>
                    <a:pt x="270" y="343"/>
                  </a:lnTo>
                  <a:lnTo>
                    <a:pt x="284" y="333"/>
                  </a:lnTo>
                  <a:lnTo>
                    <a:pt x="298" y="323"/>
                  </a:lnTo>
                  <a:lnTo>
                    <a:pt x="312" y="311"/>
                  </a:lnTo>
                  <a:lnTo>
                    <a:pt x="324" y="299"/>
                  </a:lnTo>
                  <a:lnTo>
                    <a:pt x="334" y="285"/>
                  </a:lnTo>
                  <a:lnTo>
                    <a:pt x="344" y="269"/>
                  </a:lnTo>
                  <a:lnTo>
                    <a:pt x="350" y="253"/>
                  </a:lnTo>
                  <a:lnTo>
                    <a:pt x="358" y="237"/>
                  </a:lnTo>
                  <a:lnTo>
                    <a:pt x="362" y="219"/>
                  </a:lnTo>
                  <a:lnTo>
                    <a:pt x="364" y="201"/>
                  </a:lnTo>
                  <a:lnTo>
                    <a:pt x="366" y="183"/>
                  </a:lnTo>
                  <a:lnTo>
                    <a:pt x="366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EE65E9DA-A6E6-4018-A47C-E150945EC5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3449329"/>
              <a:ext cx="576263" cy="579438"/>
            </a:xfrm>
            <a:custGeom>
              <a:avLst/>
              <a:gdLst>
                <a:gd name="T0" fmla="*/ 363 w 363"/>
                <a:gd name="T1" fmla="*/ 183 h 365"/>
                <a:gd name="T2" fmla="*/ 361 w 363"/>
                <a:gd name="T3" fmla="*/ 145 h 365"/>
                <a:gd name="T4" fmla="*/ 349 w 363"/>
                <a:gd name="T5" fmla="*/ 111 h 365"/>
                <a:gd name="T6" fmla="*/ 333 w 363"/>
                <a:gd name="T7" fmla="*/ 80 h 365"/>
                <a:gd name="T8" fmla="*/ 311 w 363"/>
                <a:gd name="T9" fmla="*/ 54 h 365"/>
                <a:gd name="T10" fmla="*/ 283 w 363"/>
                <a:gd name="T11" fmla="*/ 32 h 365"/>
                <a:gd name="T12" fmla="*/ 253 w 363"/>
                <a:gd name="T13" fmla="*/ 14 h 365"/>
                <a:gd name="T14" fmla="*/ 217 w 363"/>
                <a:gd name="T15" fmla="*/ 4 h 365"/>
                <a:gd name="T16" fmla="*/ 181 w 363"/>
                <a:gd name="T17" fmla="*/ 0 h 365"/>
                <a:gd name="T18" fmla="*/ 163 w 363"/>
                <a:gd name="T19" fmla="*/ 2 h 365"/>
                <a:gd name="T20" fmla="*/ 128 w 363"/>
                <a:gd name="T21" fmla="*/ 8 h 365"/>
                <a:gd name="T22" fmla="*/ 94 w 363"/>
                <a:gd name="T23" fmla="*/ 22 h 365"/>
                <a:gd name="T24" fmla="*/ 66 w 363"/>
                <a:gd name="T25" fmla="*/ 42 h 365"/>
                <a:gd name="T26" fmla="*/ 42 w 363"/>
                <a:gd name="T27" fmla="*/ 66 h 365"/>
                <a:gd name="T28" fmla="*/ 22 w 363"/>
                <a:gd name="T29" fmla="*/ 96 h 365"/>
                <a:gd name="T30" fmla="*/ 8 w 363"/>
                <a:gd name="T31" fmla="*/ 127 h 365"/>
                <a:gd name="T32" fmla="*/ 0 w 363"/>
                <a:gd name="T33" fmla="*/ 163 h 365"/>
                <a:gd name="T34" fmla="*/ 0 w 363"/>
                <a:gd name="T35" fmla="*/ 183 h 365"/>
                <a:gd name="T36" fmla="*/ 2 w 363"/>
                <a:gd name="T37" fmla="*/ 219 h 365"/>
                <a:gd name="T38" fmla="*/ 14 w 363"/>
                <a:gd name="T39" fmla="*/ 253 h 365"/>
                <a:gd name="T40" fmla="*/ 30 w 363"/>
                <a:gd name="T41" fmla="*/ 285 h 365"/>
                <a:gd name="T42" fmla="*/ 52 w 363"/>
                <a:gd name="T43" fmla="*/ 311 h 365"/>
                <a:gd name="T44" fmla="*/ 80 w 363"/>
                <a:gd name="T45" fmla="*/ 333 h 365"/>
                <a:gd name="T46" fmla="*/ 110 w 363"/>
                <a:gd name="T47" fmla="*/ 351 h 365"/>
                <a:gd name="T48" fmla="*/ 146 w 363"/>
                <a:gd name="T49" fmla="*/ 361 h 365"/>
                <a:gd name="T50" fmla="*/ 181 w 363"/>
                <a:gd name="T51" fmla="*/ 365 h 365"/>
                <a:gd name="T52" fmla="*/ 199 w 363"/>
                <a:gd name="T53" fmla="*/ 363 h 365"/>
                <a:gd name="T54" fmla="*/ 235 w 363"/>
                <a:gd name="T55" fmla="*/ 357 h 365"/>
                <a:gd name="T56" fmla="*/ 269 w 363"/>
                <a:gd name="T57" fmla="*/ 343 h 365"/>
                <a:gd name="T58" fmla="*/ 297 w 363"/>
                <a:gd name="T59" fmla="*/ 323 h 365"/>
                <a:gd name="T60" fmla="*/ 323 w 363"/>
                <a:gd name="T61" fmla="*/ 299 h 365"/>
                <a:gd name="T62" fmla="*/ 341 w 363"/>
                <a:gd name="T63" fmla="*/ 269 h 365"/>
                <a:gd name="T64" fmla="*/ 355 w 363"/>
                <a:gd name="T65" fmla="*/ 237 h 365"/>
                <a:gd name="T66" fmla="*/ 363 w 363"/>
                <a:gd name="T67" fmla="*/ 201 h 365"/>
                <a:gd name="T68" fmla="*/ 363 w 363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5">
                  <a:moveTo>
                    <a:pt x="363" y="183"/>
                  </a:moveTo>
                  <a:lnTo>
                    <a:pt x="363" y="183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7"/>
                  </a:lnTo>
                  <a:lnTo>
                    <a:pt x="349" y="111"/>
                  </a:lnTo>
                  <a:lnTo>
                    <a:pt x="341" y="96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4"/>
                  </a:lnTo>
                  <a:lnTo>
                    <a:pt x="297" y="42"/>
                  </a:lnTo>
                  <a:lnTo>
                    <a:pt x="283" y="32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2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2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2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1"/>
                  </a:lnTo>
                  <a:lnTo>
                    <a:pt x="8" y="127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0" y="201"/>
                  </a:lnTo>
                  <a:lnTo>
                    <a:pt x="2" y="219"/>
                  </a:lnTo>
                  <a:lnTo>
                    <a:pt x="8" y="237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5"/>
                  </a:lnTo>
                  <a:lnTo>
                    <a:pt x="42" y="299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3"/>
                  </a:lnTo>
                  <a:lnTo>
                    <a:pt x="110" y="351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5"/>
                  </a:lnTo>
                  <a:lnTo>
                    <a:pt x="181" y="365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7"/>
                  </a:lnTo>
                  <a:lnTo>
                    <a:pt x="253" y="351"/>
                  </a:lnTo>
                  <a:lnTo>
                    <a:pt x="269" y="343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9"/>
                  </a:lnTo>
                  <a:lnTo>
                    <a:pt x="333" y="285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7"/>
                  </a:lnTo>
                  <a:lnTo>
                    <a:pt x="361" y="219"/>
                  </a:lnTo>
                  <a:lnTo>
                    <a:pt x="363" y="201"/>
                  </a:lnTo>
                  <a:lnTo>
                    <a:pt x="363" y="183"/>
                  </a:lnTo>
                  <a:lnTo>
                    <a:pt x="363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E8EFACE2-B62B-417C-A842-5717A3841D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19358" y="3449329"/>
              <a:ext cx="581025" cy="579438"/>
            </a:xfrm>
            <a:custGeom>
              <a:avLst/>
              <a:gdLst>
                <a:gd name="T0" fmla="*/ 366 w 366"/>
                <a:gd name="T1" fmla="*/ 183 h 365"/>
                <a:gd name="T2" fmla="*/ 362 w 366"/>
                <a:gd name="T3" fmla="*/ 145 h 365"/>
                <a:gd name="T4" fmla="*/ 352 w 366"/>
                <a:gd name="T5" fmla="*/ 111 h 365"/>
                <a:gd name="T6" fmla="*/ 336 w 366"/>
                <a:gd name="T7" fmla="*/ 80 h 365"/>
                <a:gd name="T8" fmla="*/ 312 w 366"/>
                <a:gd name="T9" fmla="*/ 54 h 365"/>
                <a:gd name="T10" fmla="*/ 286 w 366"/>
                <a:gd name="T11" fmla="*/ 32 h 365"/>
                <a:gd name="T12" fmla="*/ 254 w 366"/>
                <a:gd name="T13" fmla="*/ 14 h 365"/>
                <a:gd name="T14" fmla="*/ 220 w 366"/>
                <a:gd name="T15" fmla="*/ 4 h 365"/>
                <a:gd name="T16" fmla="*/ 184 w 366"/>
                <a:gd name="T17" fmla="*/ 0 h 365"/>
                <a:gd name="T18" fmla="*/ 164 w 366"/>
                <a:gd name="T19" fmla="*/ 2 h 365"/>
                <a:gd name="T20" fmla="*/ 130 w 366"/>
                <a:gd name="T21" fmla="*/ 8 h 365"/>
                <a:gd name="T22" fmla="*/ 96 w 366"/>
                <a:gd name="T23" fmla="*/ 22 h 365"/>
                <a:gd name="T24" fmla="*/ 68 w 366"/>
                <a:gd name="T25" fmla="*/ 42 h 365"/>
                <a:gd name="T26" fmla="*/ 42 w 366"/>
                <a:gd name="T27" fmla="*/ 66 h 365"/>
                <a:gd name="T28" fmla="*/ 22 w 366"/>
                <a:gd name="T29" fmla="*/ 96 h 365"/>
                <a:gd name="T30" fmla="*/ 8 w 366"/>
                <a:gd name="T31" fmla="*/ 127 h 365"/>
                <a:gd name="T32" fmla="*/ 2 w 366"/>
                <a:gd name="T33" fmla="*/ 163 h 365"/>
                <a:gd name="T34" fmla="*/ 0 w 366"/>
                <a:gd name="T35" fmla="*/ 183 h 365"/>
                <a:gd name="T36" fmla="*/ 4 w 366"/>
                <a:gd name="T37" fmla="*/ 219 h 365"/>
                <a:gd name="T38" fmla="*/ 16 w 366"/>
                <a:gd name="T39" fmla="*/ 253 h 365"/>
                <a:gd name="T40" fmla="*/ 32 w 366"/>
                <a:gd name="T41" fmla="*/ 285 h 365"/>
                <a:gd name="T42" fmla="*/ 54 w 366"/>
                <a:gd name="T43" fmla="*/ 311 h 365"/>
                <a:gd name="T44" fmla="*/ 82 w 366"/>
                <a:gd name="T45" fmla="*/ 333 h 365"/>
                <a:gd name="T46" fmla="*/ 112 w 366"/>
                <a:gd name="T47" fmla="*/ 351 h 365"/>
                <a:gd name="T48" fmla="*/ 146 w 366"/>
                <a:gd name="T49" fmla="*/ 361 h 365"/>
                <a:gd name="T50" fmla="*/ 184 w 366"/>
                <a:gd name="T51" fmla="*/ 365 h 365"/>
                <a:gd name="T52" fmla="*/ 202 w 366"/>
                <a:gd name="T53" fmla="*/ 363 h 365"/>
                <a:gd name="T54" fmla="*/ 238 w 366"/>
                <a:gd name="T55" fmla="*/ 357 h 365"/>
                <a:gd name="T56" fmla="*/ 270 w 366"/>
                <a:gd name="T57" fmla="*/ 343 h 365"/>
                <a:gd name="T58" fmla="*/ 300 w 366"/>
                <a:gd name="T59" fmla="*/ 323 h 365"/>
                <a:gd name="T60" fmla="*/ 324 w 366"/>
                <a:gd name="T61" fmla="*/ 299 h 365"/>
                <a:gd name="T62" fmla="*/ 344 w 366"/>
                <a:gd name="T63" fmla="*/ 269 h 365"/>
                <a:gd name="T64" fmla="*/ 358 w 366"/>
                <a:gd name="T65" fmla="*/ 237 h 365"/>
                <a:gd name="T66" fmla="*/ 366 w 366"/>
                <a:gd name="T67" fmla="*/ 201 h 365"/>
                <a:gd name="T68" fmla="*/ 366 w 366"/>
                <a:gd name="T69" fmla="*/ 18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365">
                  <a:moveTo>
                    <a:pt x="366" y="183"/>
                  </a:moveTo>
                  <a:lnTo>
                    <a:pt x="366" y="183"/>
                  </a:lnTo>
                  <a:lnTo>
                    <a:pt x="366" y="163"/>
                  </a:lnTo>
                  <a:lnTo>
                    <a:pt x="362" y="145"/>
                  </a:lnTo>
                  <a:lnTo>
                    <a:pt x="358" y="127"/>
                  </a:lnTo>
                  <a:lnTo>
                    <a:pt x="352" y="111"/>
                  </a:lnTo>
                  <a:lnTo>
                    <a:pt x="344" y="96"/>
                  </a:lnTo>
                  <a:lnTo>
                    <a:pt x="336" y="80"/>
                  </a:lnTo>
                  <a:lnTo>
                    <a:pt x="324" y="66"/>
                  </a:lnTo>
                  <a:lnTo>
                    <a:pt x="312" y="54"/>
                  </a:lnTo>
                  <a:lnTo>
                    <a:pt x="300" y="42"/>
                  </a:lnTo>
                  <a:lnTo>
                    <a:pt x="286" y="32"/>
                  </a:lnTo>
                  <a:lnTo>
                    <a:pt x="270" y="22"/>
                  </a:lnTo>
                  <a:lnTo>
                    <a:pt x="254" y="14"/>
                  </a:lnTo>
                  <a:lnTo>
                    <a:pt x="238" y="8"/>
                  </a:lnTo>
                  <a:lnTo>
                    <a:pt x="220" y="4"/>
                  </a:lnTo>
                  <a:lnTo>
                    <a:pt x="202" y="2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64" y="2"/>
                  </a:lnTo>
                  <a:lnTo>
                    <a:pt x="146" y="4"/>
                  </a:lnTo>
                  <a:lnTo>
                    <a:pt x="130" y="8"/>
                  </a:lnTo>
                  <a:lnTo>
                    <a:pt x="112" y="14"/>
                  </a:lnTo>
                  <a:lnTo>
                    <a:pt x="96" y="22"/>
                  </a:lnTo>
                  <a:lnTo>
                    <a:pt x="82" y="32"/>
                  </a:lnTo>
                  <a:lnTo>
                    <a:pt x="68" y="42"/>
                  </a:lnTo>
                  <a:lnTo>
                    <a:pt x="54" y="54"/>
                  </a:lnTo>
                  <a:lnTo>
                    <a:pt x="42" y="66"/>
                  </a:lnTo>
                  <a:lnTo>
                    <a:pt x="32" y="80"/>
                  </a:lnTo>
                  <a:lnTo>
                    <a:pt x="22" y="96"/>
                  </a:lnTo>
                  <a:lnTo>
                    <a:pt x="16" y="111"/>
                  </a:lnTo>
                  <a:lnTo>
                    <a:pt x="8" y="127"/>
                  </a:lnTo>
                  <a:lnTo>
                    <a:pt x="4" y="145"/>
                  </a:lnTo>
                  <a:lnTo>
                    <a:pt x="2" y="163"/>
                  </a:lnTo>
                  <a:lnTo>
                    <a:pt x="0" y="183"/>
                  </a:lnTo>
                  <a:lnTo>
                    <a:pt x="0" y="183"/>
                  </a:lnTo>
                  <a:lnTo>
                    <a:pt x="2" y="201"/>
                  </a:lnTo>
                  <a:lnTo>
                    <a:pt x="4" y="219"/>
                  </a:lnTo>
                  <a:lnTo>
                    <a:pt x="8" y="237"/>
                  </a:lnTo>
                  <a:lnTo>
                    <a:pt x="16" y="253"/>
                  </a:lnTo>
                  <a:lnTo>
                    <a:pt x="22" y="269"/>
                  </a:lnTo>
                  <a:lnTo>
                    <a:pt x="32" y="285"/>
                  </a:lnTo>
                  <a:lnTo>
                    <a:pt x="42" y="299"/>
                  </a:lnTo>
                  <a:lnTo>
                    <a:pt x="54" y="311"/>
                  </a:lnTo>
                  <a:lnTo>
                    <a:pt x="68" y="323"/>
                  </a:lnTo>
                  <a:lnTo>
                    <a:pt x="82" y="333"/>
                  </a:lnTo>
                  <a:lnTo>
                    <a:pt x="96" y="343"/>
                  </a:lnTo>
                  <a:lnTo>
                    <a:pt x="112" y="351"/>
                  </a:lnTo>
                  <a:lnTo>
                    <a:pt x="130" y="357"/>
                  </a:lnTo>
                  <a:lnTo>
                    <a:pt x="146" y="361"/>
                  </a:lnTo>
                  <a:lnTo>
                    <a:pt x="164" y="363"/>
                  </a:lnTo>
                  <a:lnTo>
                    <a:pt x="184" y="365"/>
                  </a:lnTo>
                  <a:lnTo>
                    <a:pt x="184" y="365"/>
                  </a:lnTo>
                  <a:lnTo>
                    <a:pt x="202" y="363"/>
                  </a:lnTo>
                  <a:lnTo>
                    <a:pt x="220" y="361"/>
                  </a:lnTo>
                  <a:lnTo>
                    <a:pt x="238" y="357"/>
                  </a:lnTo>
                  <a:lnTo>
                    <a:pt x="254" y="351"/>
                  </a:lnTo>
                  <a:lnTo>
                    <a:pt x="270" y="343"/>
                  </a:lnTo>
                  <a:lnTo>
                    <a:pt x="286" y="333"/>
                  </a:lnTo>
                  <a:lnTo>
                    <a:pt x="300" y="323"/>
                  </a:lnTo>
                  <a:lnTo>
                    <a:pt x="312" y="311"/>
                  </a:lnTo>
                  <a:lnTo>
                    <a:pt x="324" y="299"/>
                  </a:lnTo>
                  <a:lnTo>
                    <a:pt x="336" y="285"/>
                  </a:lnTo>
                  <a:lnTo>
                    <a:pt x="344" y="269"/>
                  </a:lnTo>
                  <a:lnTo>
                    <a:pt x="352" y="253"/>
                  </a:lnTo>
                  <a:lnTo>
                    <a:pt x="358" y="237"/>
                  </a:lnTo>
                  <a:lnTo>
                    <a:pt x="362" y="219"/>
                  </a:lnTo>
                  <a:lnTo>
                    <a:pt x="366" y="201"/>
                  </a:lnTo>
                  <a:lnTo>
                    <a:pt x="366" y="183"/>
                  </a:lnTo>
                  <a:lnTo>
                    <a:pt x="366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7A074823-271C-4496-B916-5B7B52E802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4130366"/>
              <a:ext cx="576263" cy="579438"/>
            </a:xfrm>
            <a:custGeom>
              <a:avLst/>
              <a:gdLst>
                <a:gd name="T0" fmla="*/ 363 w 363"/>
                <a:gd name="T1" fmla="*/ 181 h 365"/>
                <a:gd name="T2" fmla="*/ 361 w 363"/>
                <a:gd name="T3" fmla="*/ 145 h 365"/>
                <a:gd name="T4" fmla="*/ 349 w 363"/>
                <a:gd name="T5" fmla="*/ 112 h 365"/>
                <a:gd name="T6" fmla="*/ 333 w 363"/>
                <a:gd name="T7" fmla="*/ 80 h 365"/>
                <a:gd name="T8" fmla="*/ 311 w 363"/>
                <a:gd name="T9" fmla="*/ 54 h 365"/>
                <a:gd name="T10" fmla="*/ 283 w 363"/>
                <a:gd name="T11" fmla="*/ 32 h 365"/>
                <a:gd name="T12" fmla="*/ 253 w 363"/>
                <a:gd name="T13" fmla="*/ 14 h 365"/>
                <a:gd name="T14" fmla="*/ 217 w 363"/>
                <a:gd name="T15" fmla="*/ 4 h 365"/>
                <a:gd name="T16" fmla="*/ 181 w 363"/>
                <a:gd name="T17" fmla="*/ 0 h 365"/>
                <a:gd name="T18" fmla="*/ 163 w 363"/>
                <a:gd name="T19" fmla="*/ 0 h 365"/>
                <a:gd name="T20" fmla="*/ 128 w 363"/>
                <a:gd name="T21" fmla="*/ 8 h 365"/>
                <a:gd name="T22" fmla="*/ 94 w 363"/>
                <a:gd name="T23" fmla="*/ 22 h 365"/>
                <a:gd name="T24" fmla="*/ 66 w 363"/>
                <a:gd name="T25" fmla="*/ 42 h 365"/>
                <a:gd name="T26" fmla="*/ 42 w 363"/>
                <a:gd name="T27" fmla="*/ 66 h 365"/>
                <a:gd name="T28" fmla="*/ 22 w 363"/>
                <a:gd name="T29" fmla="*/ 96 h 365"/>
                <a:gd name="T30" fmla="*/ 8 w 363"/>
                <a:gd name="T31" fmla="*/ 127 h 365"/>
                <a:gd name="T32" fmla="*/ 0 w 363"/>
                <a:gd name="T33" fmla="*/ 163 h 365"/>
                <a:gd name="T34" fmla="*/ 0 w 363"/>
                <a:gd name="T35" fmla="*/ 181 h 365"/>
                <a:gd name="T36" fmla="*/ 2 w 363"/>
                <a:gd name="T37" fmla="*/ 219 h 365"/>
                <a:gd name="T38" fmla="*/ 14 w 363"/>
                <a:gd name="T39" fmla="*/ 253 h 365"/>
                <a:gd name="T40" fmla="*/ 30 w 363"/>
                <a:gd name="T41" fmla="*/ 283 h 365"/>
                <a:gd name="T42" fmla="*/ 52 w 363"/>
                <a:gd name="T43" fmla="*/ 311 h 365"/>
                <a:gd name="T44" fmla="*/ 80 w 363"/>
                <a:gd name="T45" fmla="*/ 333 h 365"/>
                <a:gd name="T46" fmla="*/ 110 w 363"/>
                <a:gd name="T47" fmla="*/ 349 h 365"/>
                <a:gd name="T48" fmla="*/ 146 w 363"/>
                <a:gd name="T49" fmla="*/ 361 h 365"/>
                <a:gd name="T50" fmla="*/ 181 w 363"/>
                <a:gd name="T51" fmla="*/ 365 h 365"/>
                <a:gd name="T52" fmla="*/ 199 w 363"/>
                <a:gd name="T53" fmla="*/ 363 h 365"/>
                <a:gd name="T54" fmla="*/ 235 w 363"/>
                <a:gd name="T55" fmla="*/ 357 h 365"/>
                <a:gd name="T56" fmla="*/ 269 w 363"/>
                <a:gd name="T57" fmla="*/ 343 h 365"/>
                <a:gd name="T58" fmla="*/ 297 w 363"/>
                <a:gd name="T59" fmla="*/ 323 h 365"/>
                <a:gd name="T60" fmla="*/ 323 w 363"/>
                <a:gd name="T61" fmla="*/ 297 h 365"/>
                <a:gd name="T62" fmla="*/ 341 w 363"/>
                <a:gd name="T63" fmla="*/ 269 h 365"/>
                <a:gd name="T64" fmla="*/ 355 w 363"/>
                <a:gd name="T65" fmla="*/ 235 h 365"/>
                <a:gd name="T66" fmla="*/ 363 w 363"/>
                <a:gd name="T67" fmla="*/ 201 h 365"/>
                <a:gd name="T68" fmla="*/ 363 w 363"/>
                <a:gd name="T69" fmla="*/ 181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5">
                  <a:moveTo>
                    <a:pt x="363" y="181"/>
                  </a:moveTo>
                  <a:lnTo>
                    <a:pt x="363" y="181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7"/>
                  </a:lnTo>
                  <a:lnTo>
                    <a:pt x="349" y="112"/>
                  </a:lnTo>
                  <a:lnTo>
                    <a:pt x="341" y="96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4"/>
                  </a:lnTo>
                  <a:lnTo>
                    <a:pt x="297" y="42"/>
                  </a:lnTo>
                  <a:lnTo>
                    <a:pt x="283" y="32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0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2"/>
                  </a:lnTo>
                  <a:lnTo>
                    <a:pt x="66" y="42"/>
                  </a:lnTo>
                  <a:lnTo>
                    <a:pt x="52" y="54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6"/>
                  </a:lnTo>
                  <a:lnTo>
                    <a:pt x="14" y="112"/>
                  </a:lnTo>
                  <a:lnTo>
                    <a:pt x="8" y="127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201"/>
                  </a:lnTo>
                  <a:lnTo>
                    <a:pt x="2" y="219"/>
                  </a:lnTo>
                  <a:lnTo>
                    <a:pt x="8" y="235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3"/>
                  </a:lnTo>
                  <a:lnTo>
                    <a:pt x="42" y="297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3"/>
                  </a:lnTo>
                  <a:lnTo>
                    <a:pt x="110" y="349"/>
                  </a:lnTo>
                  <a:lnTo>
                    <a:pt x="128" y="357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5"/>
                  </a:lnTo>
                  <a:lnTo>
                    <a:pt x="181" y="365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7"/>
                  </a:lnTo>
                  <a:lnTo>
                    <a:pt x="253" y="349"/>
                  </a:lnTo>
                  <a:lnTo>
                    <a:pt x="269" y="343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7"/>
                  </a:lnTo>
                  <a:lnTo>
                    <a:pt x="333" y="283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5"/>
                  </a:lnTo>
                  <a:lnTo>
                    <a:pt x="361" y="219"/>
                  </a:lnTo>
                  <a:lnTo>
                    <a:pt x="363" y="201"/>
                  </a:lnTo>
                  <a:lnTo>
                    <a:pt x="363" y="181"/>
                  </a:lnTo>
                  <a:lnTo>
                    <a:pt x="363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D13EEB0F-B19D-4AE2-9BAA-3B38F5DE83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495" y="4811404"/>
              <a:ext cx="576263" cy="576263"/>
            </a:xfrm>
            <a:custGeom>
              <a:avLst/>
              <a:gdLst>
                <a:gd name="T0" fmla="*/ 363 w 363"/>
                <a:gd name="T1" fmla="*/ 181 h 363"/>
                <a:gd name="T2" fmla="*/ 361 w 363"/>
                <a:gd name="T3" fmla="*/ 145 h 363"/>
                <a:gd name="T4" fmla="*/ 349 w 363"/>
                <a:gd name="T5" fmla="*/ 110 h 363"/>
                <a:gd name="T6" fmla="*/ 333 w 363"/>
                <a:gd name="T7" fmla="*/ 80 h 363"/>
                <a:gd name="T8" fmla="*/ 311 w 363"/>
                <a:gd name="T9" fmla="*/ 52 h 363"/>
                <a:gd name="T10" fmla="*/ 283 w 363"/>
                <a:gd name="T11" fmla="*/ 30 h 363"/>
                <a:gd name="T12" fmla="*/ 253 w 363"/>
                <a:gd name="T13" fmla="*/ 14 h 363"/>
                <a:gd name="T14" fmla="*/ 217 w 363"/>
                <a:gd name="T15" fmla="*/ 4 h 363"/>
                <a:gd name="T16" fmla="*/ 181 w 363"/>
                <a:gd name="T17" fmla="*/ 0 h 363"/>
                <a:gd name="T18" fmla="*/ 163 w 363"/>
                <a:gd name="T19" fmla="*/ 0 h 363"/>
                <a:gd name="T20" fmla="*/ 128 w 363"/>
                <a:gd name="T21" fmla="*/ 8 h 363"/>
                <a:gd name="T22" fmla="*/ 94 w 363"/>
                <a:gd name="T23" fmla="*/ 22 h 363"/>
                <a:gd name="T24" fmla="*/ 66 w 363"/>
                <a:gd name="T25" fmla="*/ 42 h 363"/>
                <a:gd name="T26" fmla="*/ 42 w 363"/>
                <a:gd name="T27" fmla="*/ 66 h 363"/>
                <a:gd name="T28" fmla="*/ 22 w 363"/>
                <a:gd name="T29" fmla="*/ 94 h 363"/>
                <a:gd name="T30" fmla="*/ 8 w 363"/>
                <a:gd name="T31" fmla="*/ 128 h 363"/>
                <a:gd name="T32" fmla="*/ 0 w 363"/>
                <a:gd name="T33" fmla="*/ 163 h 363"/>
                <a:gd name="T34" fmla="*/ 0 w 363"/>
                <a:gd name="T35" fmla="*/ 181 h 363"/>
                <a:gd name="T36" fmla="*/ 2 w 363"/>
                <a:gd name="T37" fmla="*/ 217 h 363"/>
                <a:gd name="T38" fmla="*/ 14 w 363"/>
                <a:gd name="T39" fmla="*/ 253 h 363"/>
                <a:gd name="T40" fmla="*/ 30 w 363"/>
                <a:gd name="T41" fmla="*/ 283 h 363"/>
                <a:gd name="T42" fmla="*/ 52 w 363"/>
                <a:gd name="T43" fmla="*/ 311 h 363"/>
                <a:gd name="T44" fmla="*/ 80 w 363"/>
                <a:gd name="T45" fmla="*/ 333 h 363"/>
                <a:gd name="T46" fmla="*/ 110 w 363"/>
                <a:gd name="T47" fmla="*/ 349 h 363"/>
                <a:gd name="T48" fmla="*/ 146 w 363"/>
                <a:gd name="T49" fmla="*/ 361 h 363"/>
                <a:gd name="T50" fmla="*/ 181 w 363"/>
                <a:gd name="T51" fmla="*/ 363 h 363"/>
                <a:gd name="T52" fmla="*/ 199 w 363"/>
                <a:gd name="T53" fmla="*/ 363 h 363"/>
                <a:gd name="T54" fmla="*/ 235 w 363"/>
                <a:gd name="T55" fmla="*/ 355 h 363"/>
                <a:gd name="T56" fmla="*/ 269 w 363"/>
                <a:gd name="T57" fmla="*/ 341 h 363"/>
                <a:gd name="T58" fmla="*/ 297 w 363"/>
                <a:gd name="T59" fmla="*/ 323 h 363"/>
                <a:gd name="T60" fmla="*/ 323 w 363"/>
                <a:gd name="T61" fmla="*/ 297 h 363"/>
                <a:gd name="T62" fmla="*/ 341 w 363"/>
                <a:gd name="T63" fmla="*/ 269 h 363"/>
                <a:gd name="T64" fmla="*/ 355 w 363"/>
                <a:gd name="T65" fmla="*/ 235 h 363"/>
                <a:gd name="T66" fmla="*/ 363 w 363"/>
                <a:gd name="T67" fmla="*/ 199 h 363"/>
                <a:gd name="T68" fmla="*/ 363 w 363"/>
                <a:gd name="T69" fmla="*/ 181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3" h="363">
                  <a:moveTo>
                    <a:pt x="363" y="181"/>
                  </a:moveTo>
                  <a:lnTo>
                    <a:pt x="363" y="181"/>
                  </a:lnTo>
                  <a:lnTo>
                    <a:pt x="363" y="163"/>
                  </a:lnTo>
                  <a:lnTo>
                    <a:pt x="361" y="145"/>
                  </a:lnTo>
                  <a:lnTo>
                    <a:pt x="355" y="128"/>
                  </a:lnTo>
                  <a:lnTo>
                    <a:pt x="349" y="110"/>
                  </a:lnTo>
                  <a:lnTo>
                    <a:pt x="341" y="94"/>
                  </a:lnTo>
                  <a:lnTo>
                    <a:pt x="333" y="80"/>
                  </a:lnTo>
                  <a:lnTo>
                    <a:pt x="323" y="66"/>
                  </a:lnTo>
                  <a:lnTo>
                    <a:pt x="311" y="52"/>
                  </a:lnTo>
                  <a:lnTo>
                    <a:pt x="297" y="42"/>
                  </a:lnTo>
                  <a:lnTo>
                    <a:pt x="283" y="30"/>
                  </a:lnTo>
                  <a:lnTo>
                    <a:pt x="269" y="22"/>
                  </a:lnTo>
                  <a:lnTo>
                    <a:pt x="253" y="14"/>
                  </a:lnTo>
                  <a:lnTo>
                    <a:pt x="235" y="8"/>
                  </a:lnTo>
                  <a:lnTo>
                    <a:pt x="217" y="4"/>
                  </a:lnTo>
                  <a:lnTo>
                    <a:pt x="199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63" y="0"/>
                  </a:lnTo>
                  <a:lnTo>
                    <a:pt x="146" y="4"/>
                  </a:lnTo>
                  <a:lnTo>
                    <a:pt x="128" y="8"/>
                  </a:lnTo>
                  <a:lnTo>
                    <a:pt x="110" y="14"/>
                  </a:lnTo>
                  <a:lnTo>
                    <a:pt x="94" y="22"/>
                  </a:lnTo>
                  <a:lnTo>
                    <a:pt x="80" y="30"/>
                  </a:lnTo>
                  <a:lnTo>
                    <a:pt x="66" y="42"/>
                  </a:lnTo>
                  <a:lnTo>
                    <a:pt x="52" y="52"/>
                  </a:lnTo>
                  <a:lnTo>
                    <a:pt x="42" y="66"/>
                  </a:lnTo>
                  <a:lnTo>
                    <a:pt x="30" y="80"/>
                  </a:lnTo>
                  <a:lnTo>
                    <a:pt x="22" y="94"/>
                  </a:lnTo>
                  <a:lnTo>
                    <a:pt x="14" y="110"/>
                  </a:lnTo>
                  <a:lnTo>
                    <a:pt x="8" y="128"/>
                  </a:lnTo>
                  <a:lnTo>
                    <a:pt x="2" y="145"/>
                  </a:lnTo>
                  <a:lnTo>
                    <a:pt x="0" y="163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0" y="199"/>
                  </a:lnTo>
                  <a:lnTo>
                    <a:pt x="2" y="217"/>
                  </a:lnTo>
                  <a:lnTo>
                    <a:pt x="8" y="235"/>
                  </a:lnTo>
                  <a:lnTo>
                    <a:pt x="14" y="253"/>
                  </a:lnTo>
                  <a:lnTo>
                    <a:pt x="22" y="269"/>
                  </a:lnTo>
                  <a:lnTo>
                    <a:pt x="30" y="283"/>
                  </a:lnTo>
                  <a:lnTo>
                    <a:pt x="42" y="297"/>
                  </a:lnTo>
                  <a:lnTo>
                    <a:pt x="52" y="311"/>
                  </a:lnTo>
                  <a:lnTo>
                    <a:pt x="66" y="323"/>
                  </a:lnTo>
                  <a:lnTo>
                    <a:pt x="80" y="333"/>
                  </a:lnTo>
                  <a:lnTo>
                    <a:pt x="94" y="341"/>
                  </a:lnTo>
                  <a:lnTo>
                    <a:pt x="110" y="349"/>
                  </a:lnTo>
                  <a:lnTo>
                    <a:pt x="128" y="355"/>
                  </a:lnTo>
                  <a:lnTo>
                    <a:pt x="146" y="361"/>
                  </a:lnTo>
                  <a:lnTo>
                    <a:pt x="163" y="363"/>
                  </a:lnTo>
                  <a:lnTo>
                    <a:pt x="181" y="363"/>
                  </a:lnTo>
                  <a:lnTo>
                    <a:pt x="181" y="363"/>
                  </a:lnTo>
                  <a:lnTo>
                    <a:pt x="199" y="363"/>
                  </a:lnTo>
                  <a:lnTo>
                    <a:pt x="217" y="361"/>
                  </a:lnTo>
                  <a:lnTo>
                    <a:pt x="235" y="355"/>
                  </a:lnTo>
                  <a:lnTo>
                    <a:pt x="253" y="349"/>
                  </a:lnTo>
                  <a:lnTo>
                    <a:pt x="269" y="341"/>
                  </a:lnTo>
                  <a:lnTo>
                    <a:pt x="283" y="333"/>
                  </a:lnTo>
                  <a:lnTo>
                    <a:pt x="297" y="323"/>
                  </a:lnTo>
                  <a:lnTo>
                    <a:pt x="311" y="311"/>
                  </a:lnTo>
                  <a:lnTo>
                    <a:pt x="323" y="297"/>
                  </a:lnTo>
                  <a:lnTo>
                    <a:pt x="333" y="283"/>
                  </a:lnTo>
                  <a:lnTo>
                    <a:pt x="341" y="269"/>
                  </a:lnTo>
                  <a:lnTo>
                    <a:pt x="349" y="253"/>
                  </a:lnTo>
                  <a:lnTo>
                    <a:pt x="355" y="235"/>
                  </a:lnTo>
                  <a:lnTo>
                    <a:pt x="361" y="217"/>
                  </a:lnTo>
                  <a:lnTo>
                    <a:pt x="363" y="199"/>
                  </a:lnTo>
                  <a:lnTo>
                    <a:pt x="363" y="181"/>
                  </a:lnTo>
                  <a:lnTo>
                    <a:pt x="363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519CAB2-F180-4714-8C81-B21C13712F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9633" y="4031941"/>
              <a:ext cx="706438" cy="900113"/>
            </a:xfrm>
            <a:custGeom>
              <a:avLst/>
              <a:gdLst>
                <a:gd name="T0" fmla="*/ 170 w 445"/>
                <a:gd name="T1" fmla="*/ 102 h 567"/>
                <a:gd name="T2" fmla="*/ 0 w 445"/>
                <a:gd name="T3" fmla="*/ 102 h 567"/>
                <a:gd name="T4" fmla="*/ 0 w 445"/>
                <a:gd name="T5" fmla="*/ 0 h 567"/>
                <a:gd name="T6" fmla="*/ 445 w 445"/>
                <a:gd name="T7" fmla="*/ 0 h 567"/>
                <a:gd name="T8" fmla="*/ 445 w 445"/>
                <a:gd name="T9" fmla="*/ 102 h 567"/>
                <a:gd name="T10" fmla="*/ 276 w 445"/>
                <a:gd name="T11" fmla="*/ 102 h 567"/>
                <a:gd name="T12" fmla="*/ 276 w 445"/>
                <a:gd name="T13" fmla="*/ 567 h 567"/>
                <a:gd name="T14" fmla="*/ 170 w 445"/>
                <a:gd name="T15" fmla="*/ 567 h 567"/>
                <a:gd name="T16" fmla="*/ 170 w 445"/>
                <a:gd name="T17" fmla="*/ 10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5" h="567">
                  <a:moveTo>
                    <a:pt x="170" y="102"/>
                  </a:moveTo>
                  <a:lnTo>
                    <a:pt x="0" y="102"/>
                  </a:lnTo>
                  <a:lnTo>
                    <a:pt x="0" y="0"/>
                  </a:lnTo>
                  <a:lnTo>
                    <a:pt x="445" y="0"/>
                  </a:lnTo>
                  <a:lnTo>
                    <a:pt x="445" y="102"/>
                  </a:lnTo>
                  <a:lnTo>
                    <a:pt x="276" y="102"/>
                  </a:lnTo>
                  <a:lnTo>
                    <a:pt x="276" y="567"/>
                  </a:lnTo>
                  <a:lnTo>
                    <a:pt x="170" y="567"/>
                  </a:lnTo>
                  <a:lnTo>
                    <a:pt x="17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6F6BD923-AFF5-40FA-84A8-FF37B40A7F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383045" y="4263716"/>
              <a:ext cx="657225" cy="681038"/>
            </a:xfrm>
            <a:custGeom>
              <a:avLst/>
              <a:gdLst>
                <a:gd name="T0" fmla="*/ 402 w 414"/>
                <a:gd name="T1" fmla="*/ 299 h 429"/>
                <a:gd name="T2" fmla="*/ 386 w 414"/>
                <a:gd name="T3" fmla="*/ 333 h 429"/>
                <a:gd name="T4" fmla="*/ 352 w 414"/>
                <a:gd name="T5" fmla="*/ 377 h 429"/>
                <a:gd name="T6" fmla="*/ 326 w 414"/>
                <a:gd name="T7" fmla="*/ 397 h 429"/>
                <a:gd name="T8" fmla="*/ 294 w 414"/>
                <a:gd name="T9" fmla="*/ 413 h 429"/>
                <a:gd name="T10" fmla="*/ 256 w 414"/>
                <a:gd name="T11" fmla="*/ 425 h 429"/>
                <a:gd name="T12" fmla="*/ 212 w 414"/>
                <a:gd name="T13" fmla="*/ 429 h 429"/>
                <a:gd name="T14" fmla="*/ 188 w 414"/>
                <a:gd name="T15" fmla="*/ 429 h 429"/>
                <a:gd name="T16" fmla="*/ 146 w 414"/>
                <a:gd name="T17" fmla="*/ 421 h 429"/>
                <a:gd name="T18" fmla="*/ 108 w 414"/>
                <a:gd name="T19" fmla="*/ 405 h 429"/>
                <a:gd name="T20" fmla="*/ 74 w 414"/>
                <a:gd name="T21" fmla="*/ 383 h 429"/>
                <a:gd name="T22" fmla="*/ 46 w 414"/>
                <a:gd name="T23" fmla="*/ 355 h 429"/>
                <a:gd name="T24" fmla="*/ 24 w 414"/>
                <a:gd name="T25" fmla="*/ 321 h 429"/>
                <a:gd name="T26" fmla="*/ 10 w 414"/>
                <a:gd name="T27" fmla="*/ 281 h 429"/>
                <a:gd name="T28" fmla="*/ 2 w 414"/>
                <a:gd name="T29" fmla="*/ 237 h 429"/>
                <a:gd name="T30" fmla="*/ 0 w 414"/>
                <a:gd name="T31" fmla="*/ 215 h 429"/>
                <a:gd name="T32" fmla="*/ 4 w 414"/>
                <a:gd name="T33" fmla="*/ 169 h 429"/>
                <a:gd name="T34" fmla="*/ 16 w 414"/>
                <a:gd name="T35" fmla="*/ 129 h 429"/>
                <a:gd name="T36" fmla="*/ 34 w 414"/>
                <a:gd name="T37" fmla="*/ 91 h 429"/>
                <a:gd name="T38" fmla="*/ 60 w 414"/>
                <a:gd name="T39" fmla="*/ 61 h 429"/>
                <a:gd name="T40" fmla="*/ 90 w 414"/>
                <a:gd name="T41" fmla="*/ 36 h 429"/>
                <a:gd name="T42" fmla="*/ 126 w 414"/>
                <a:gd name="T43" fmla="*/ 16 h 429"/>
                <a:gd name="T44" fmla="*/ 168 w 414"/>
                <a:gd name="T45" fmla="*/ 4 h 429"/>
                <a:gd name="T46" fmla="*/ 212 w 414"/>
                <a:gd name="T47" fmla="*/ 0 h 429"/>
                <a:gd name="T48" fmla="*/ 232 w 414"/>
                <a:gd name="T49" fmla="*/ 2 h 429"/>
                <a:gd name="T50" fmla="*/ 272 w 414"/>
                <a:gd name="T51" fmla="*/ 10 h 429"/>
                <a:gd name="T52" fmla="*/ 308 w 414"/>
                <a:gd name="T53" fmla="*/ 26 h 429"/>
                <a:gd name="T54" fmla="*/ 340 w 414"/>
                <a:gd name="T55" fmla="*/ 45 h 429"/>
                <a:gd name="T56" fmla="*/ 368 w 414"/>
                <a:gd name="T57" fmla="*/ 73 h 429"/>
                <a:gd name="T58" fmla="*/ 390 w 414"/>
                <a:gd name="T59" fmla="*/ 107 h 429"/>
                <a:gd name="T60" fmla="*/ 404 w 414"/>
                <a:gd name="T61" fmla="*/ 143 h 429"/>
                <a:gd name="T62" fmla="*/ 412 w 414"/>
                <a:gd name="T63" fmla="*/ 185 h 429"/>
                <a:gd name="T64" fmla="*/ 414 w 414"/>
                <a:gd name="T65" fmla="*/ 207 h 429"/>
                <a:gd name="T66" fmla="*/ 412 w 414"/>
                <a:gd name="T67" fmla="*/ 235 h 429"/>
                <a:gd name="T68" fmla="*/ 102 w 414"/>
                <a:gd name="T69" fmla="*/ 247 h 429"/>
                <a:gd name="T70" fmla="*/ 106 w 414"/>
                <a:gd name="T71" fmla="*/ 267 h 429"/>
                <a:gd name="T72" fmla="*/ 124 w 414"/>
                <a:gd name="T73" fmla="*/ 303 h 429"/>
                <a:gd name="T74" fmla="*/ 154 w 414"/>
                <a:gd name="T75" fmla="*/ 329 h 429"/>
                <a:gd name="T76" fmla="*/ 190 w 414"/>
                <a:gd name="T77" fmla="*/ 343 h 429"/>
                <a:gd name="T78" fmla="*/ 212 w 414"/>
                <a:gd name="T79" fmla="*/ 345 h 429"/>
                <a:gd name="T80" fmla="*/ 244 w 414"/>
                <a:gd name="T81" fmla="*/ 339 h 429"/>
                <a:gd name="T82" fmla="*/ 268 w 414"/>
                <a:gd name="T83" fmla="*/ 329 h 429"/>
                <a:gd name="T84" fmla="*/ 286 w 414"/>
                <a:gd name="T85" fmla="*/ 315 h 429"/>
                <a:gd name="T86" fmla="*/ 296 w 414"/>
                <a:gd name="T87" fmla="*/ 299 h 429"/>
                <a:gd name="T88" fmla="*/ 312 w 414"/>
                <a:gd name="T89" fmla="*/ 179 h 429"/>
                <a:gd name="T90" fmla="*/ 308 w 414"/>
                <a:gd name="T91" fmla="*/ 159 h 429"/>
                <a:gd name="T92" fmla="*/ 292 w 414"/>
                <a:gd name="T93" fmla="*/ 125 h 429"/>
                <a:gd name="T94" fmla="*/ 266 w 414"/>
                <a:gd name="T95" fmla="*/ 101 h 429"/>
                <a:gd name="T96" fmla="*/ 232 w 414"/>
                <a:gd name="T97" fmla="*/ 87 h 429"/>
                <a:gd name="T98" fmla="*/ 212 w 414"/>
                <a:gd name="T99" fmla="*/ 85 h 429"/>
                <a:gd name="T100" fmla="*/ 170 w 414"/>
                <a:gd name="T101" fmla="*/ 93 h 429"/>
                <a:gd name="T102" fmla="*/ 138 w 414"/>
                <a:gd name="T103" fmla="*/ 111 h 429"/>
                <a:gd name="T104" fmla="*/ 116 w 414"/>
                <a:gd name="T105" fmla="*/ 141 h 429"/>
                <a:gd name="T106" fmla="*/ 102 w 414"/>
                <a:gd name="T107" fmla="*/ 179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429">
                  <a:moveTo>
                    <a:pt x="402" y="299"/>
                  </a:moveTo>
                  <a:lnTo>
                    <a:pt x="402" y="299"/>
                  </a:lnTo>
                  <a:lnTo>
                    <a:pt x="396" y="315"/>
                  </a:lnTo>
                  <a:lnTo>
                    <a:pt x="386" y="333"/>
                  </a:lnTo>
                  <a:lnTo>
                    <a:pt x="372" y="355"/>
                  </a:lnTo>
                  <a:lnTo>
                    <a:pt x="352" y="377"/>
                  </a:lnTo>
                  <a:lnTo>
                    <a:pt x="340" y="387"/>
                  </a:lnTo>
                  <a:lnTo>
                    <a:pt x="326" y="397"/>
                  </a:lnTo>
                  <a:lnTo>
                    <a:pt x="312" y="407"/>
                  </a:lnTo>
                  <a:lnTo>
                    <a:pt x="294" y="413"/>
                  </a:lnTo>
                  <a:lnTo>
                    <a:pt x="276" y="421"/>
                  </a:lnTo>
                  <a:lnTo>
                    <a:pt x="256" y="425"/>
                  </a:lnTo>
                  <a:lnTo>
                    <a:pt x="234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88" y="429"/>
                  </a:lnTo>
                  <a:lnTo>
                    <a:pt x="168" y="425"/>
                  </a:lnTo>
                  <a:lnTo>
                    <a:pt x="146" y="421"/>
                  </a:lnTo>
                  <a:lnTo>
                    <a:pt x="126" y="413"/>
                  </a:lnTo>
                  <a:lnTo>
                    <a:pt x="108" y="405"/>
                  </a:lnTo>
                  <a:lnTo>
                    <a:pt x="90" y="395"/>
                  </a:lnTo>
                  <a:lnTo>
                    <a:pt x="74" y="383"/>
                  </a:lnTo>
                  <a:lnTo>
                    <a:pt x="60" y="369"/>
                  </a:lnTo>
                  <a:lnTo>
                    <a:pt x="46" y="355"/>
                  </a:lnTo>
                  <a:lnTo>
                    <a:pt x="34" y="337"/>
                  </a:lnTo>
                  <a:lnTo>
                    <a:pt x="24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6" y="75"/>
                  </a:lnTo>
                  <a:lnTo>
                    <a:pt x="60" y="61"/>
                  </a:lnTo>
                  <a:lnTo>
                    <a:pt x="74" y="47"/>
                  </a:lnTo>
                  <a:lnTo>
                    <a:pt x="90" y="36"/>
                  </a:lnTo>
                  <a:lnTo>
                    <a:pt x="108" y="26"/>
                  </a:lnTo>
                  <a:lnTo>
                    <a:pt x="126" y="16"/>
                  </a:lnTo>
                  <a:lnTo>
                    <a:pt x="146" y="10"/>
                  </a:lnTo>
                  <a:lnTo>
                    <a:pt x="168" y="4"/>
                  </a:lnTo>
                  <a:lnTo>
                    <a:pt x="188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2" y="2"/>
                  </a:lnTo>
                  <a:lnTo>
                    <a:pt x="252" y="4"/>
                  </a:lnTo>
                  <a:lnTo>
                    <a:pt x="272" y="10"/>
                  </a:lnTo>
                  <a:lnTo>
                    <a:pt x="290" y="16"/>
                  </a:lnTo>
                  <a:lnTo>
                    <a:pt x="308" y="26"/>
                  </a:lnTo>
                  <a:lnTo>
                    <a:pt x="326" y="36"/>
                  </a:lnTo>
                  <a:lnTo>
                    <a:pt x="340" y="45"/>
                  </a:lnTo>
                  <a:lnTo>
                    <a:pt x="356" y="59"/>
                  </a:lnTo>
                  <a:lnTo>
                    <a:pt x="368" y="73"/>
                  </a:lnTo>
                  <a:lnTo>
                    <a:pt x="380" y="89"/>
                  </a:lnTo>
                  <a:lnTo>
                    <a:pt x="390" y="107"/>
                  </a:lnTo>
                  <a:lnTo>
                    <a:pt x="398" y="125"/>
                  </a:lnTo>
                  <a:lnTo>
                    <a:pt x="404" y="143"/>
                  </a:lnTo>
                  <a:lnTo>
                    <a:pt x="410" y="163"/>
                  </a:lnTo>
                  <a:lnTo>
                    <a:pt x="412" y="185"/>
                  </a:lnTo>
                  <a:lnTo>
                    <a:pt x="414" y="207"/>
                  </a:lnTo>
                  <a:lnTo>
                    <a:pt x="414" y="207"/>
                  </a:lnTo>
                  <a:lnTo>
                    <a:pt x="412" y="223"/>
                  </a:lnTo>
                  <a:lnTo>
                    <a:pt x="412" y="235"/>
                  </a:lnTo>
                  <a:lnTo>
                    <a:pt x="410" y="247"/>
                  </a:lnTo>
                  <a:lnTo>
                    <a:pt x="102" y="247"/>
                  </a:lnTo>
                  <a:lnTo>
                    <a:pt x="102" y="247"/>
                  </a:lnTo>
                  <a:lnTo>
                    <a:pt x="106" y="267"/>
                  </a:lnTo>
                  <a:lnTo>
                    <a:pt x="114" y="287"/>
                  </a:lnTo>
                  <a:lnTo>
                    <a:pt x="124" y="303"/>
                  </a:lnTo>
                  <a:lnTo>
                    <a:pt x="138" y="317"/>
                  </a:lnTo>
                  <a:lnTo>
                    <a:pt x="154" y="329"/>
                  </a:lnTo>
                  <a:lnTo>
                    <a:pt x="170" y="337"/>
                  </a:lnTo>
                  <a:lnTo>
                    <a:pt x="190" y="343"/>
                  </a:lnTo>
                  <a:lnTo>
                    <a:pt x="212" y="345"/>
                  </a:lnTo>
                  <a:lnTo>
                    <a:pt x="212" y="345"/>
                  </a:lnTo>
                  <a:lnTo>
                    <a:pt x="228" y="343"/>
                  </a:lnTo>
                  <a:lnTo>
                    <a:pt x="244" y="339"/>
                  </a:lnTo>
                  <a:lnTo>
                    <a:pt x="256" y="335"/>
                  </a:lnTo>
                  <a:lnTo>
                    <a:pt x="268" y="329"/>
                  </a:lnTo>
                  <a:lnTo>
                    <a:pt x="278" y="321"/>
                  </a:lnTo>
                  <a:lnTo>
                    <a:pt x="286" y="315"/>
                  </a:lnTo>
                  <a:lnTo>
                    <a:pt x="292" y="307"/>
                  </a:lnTo>
                  <a:lnTo>
                    <a:pt x="296" y="299"/>
                  </a:lnTo>
                  <a:lnTo>
                    <a:pt x="402" y="299"/>
                  </a:lnTo>
                  <a:close/>
                  <a:moveTo>
                    <a:pt x="312" y="179"/>
                  </a:moveTo>
                  <a:lnTo>
                    <a:pt x="312" y="179"/>
                  </a:lnTo>
                  <a:lnTo>
                    <a:pt x="308" y="159"/>
                  </a:lnTo>
                  <a:lnTo>
                    <a:pt x="300" y="141"/>
                  </a:lnTo>
                  <a:lnTo>
                    <a:pt x="292" y="125"/>
                  </a:lnTo>
                  <a:lnTo>
                    <a:pt x="280" y="111"/>
                  </a:lnTo>
                  <a:lnTo>
                    <a:pt x="266" y="101"/>
                  </a:lnTo>
                  <a:lnTo>
                    <a:pt x="250" y="93"/>
                  </a:lnTo>
                  <a:lnTo>
                    <a:pt x="232" y="87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190" y="87"/>
                  </a:lnTo>
                  <a:lnTo>
                    <a:pt x="170" y="93"/>
                  </a:lnTo>
                  <a:lnTo>
                    <a:pt x="152" y="101"/>
                  </a:lnTo>
                  <a:lnTo>
                    <a:pt x="138" y="111"/>
                  </a:lnTo>
                  <a:lnTo>
                    <a:pt x="126" y="125"/>
                  </a:lnTo>
                  <a:lnTo>
                    <a:pt x="116" y="141"/>
                  </a:lnTo>
                  <a:lnTo>
                    <a:pt x="108" y="159"/>
                  </a:lnTo>
                  <a:lnTo>
                    <a:pt x="102" y="179"/>
                  </a:lnTo>
                  <a:lnTo>
                    <a:pt x="312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4" name="Rectangle 12">
              <a:extLst>
                <a:ext uri="{FF2B5EF4-FFF2-40B4-BE49-F238E27FC236}">
                  <a16:creationId xmlns:a16="http://schemas.microsoft.com/office/drawing/2014/main" id="{891F8F0C-7BD5-4F13-AD5A-11CDCAFD87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35520" y="4031941"/>
              <a:ext cx="161925" cy="900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11FDCAF1-DD33-4893-973E-5D0C4D6476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392695" y="4263716"/>
              <a:ext cx="657225" cy="681038"/>
            </a:xfrm>
            <a:custGeom>
              <a:avLst/>
              <a:gdLst>
                <a:gd name="T0" fmla="*/ 402 w 414"/>
                <a:gd name="T1" fmla="*/ 299 h 429"/>
                <a:gd name="T2" fmla="*/ 388 w 414"/>
                <a:gd name="T3" fmla="*/ 333 h 429"/>
                <a:gd name="T4" fmla="*/ 352 w 414"/>
                <a:gd name="T5" fmla="*/ 377 h 429"/>
                <a:gd name="T6" fmla="*/ 326 w 414"/>
                <a:gd name="T7" fmla="*/ 397 h 429"/>
                <a:gd name="T8" fmla="*/ 296 w 414"/>
                <a:gd name="T9" fmla="*/ 413 h 429"/>
                <a:gd name="T10" fmla="*/ 256 w 414"/>
                <a:gd name="T11" fmla="*/ 425 h 429"/>
                <a:gd name="T12" fmla="*/ 212 w 414"/>
                <a:gd name="T13" fmla="*/ 429 h 429"/>
                <a:gd name="T14" fmla="*/ 190 w 414"/>
                <a:gd name="T15" fmla="*/ 429 h 429"/>
                <a:gd name="T16" fmla="*/ 146 w 414"/>
                <a:gd name="T17" fmla="*/ 421 h 429"/>
                <a:gd name="T18" fmla="*/ 108 w 414"/>
                <a:gd name="T19" fmla="*/ 405 h 429"/>
                <a:gd name="T20" fmla="*/ 76 w 414"/>
                <a:gd name="T21" fmla="*/ 383 h 429"/>
                <a:gd name="T22" fmla="*/ 48 w 414"/>
                <a:gd name="T23" fmla="*/ 355 h 429"/>
                <a:gd name="T24" fmla="*/ 26 w 414"/>
                <a:gd name="T25" fmla="*/ 321 h 429"/>
                <a:gd name="T26" fmla="*/ 10 w 414"/>
                <a:gd name="T27" fmla="*/ 281 h 429"/>
                <a:gd name="T28" fmla="*/ 2 w 414"/>
                <a:gd name="T29" fmla="*/ 237 h 429"/>
                <a:gd name="T30" fmla="*/ 0 w 414"/>
                <a:gd name="T31" fmla="*/ 215 h 429"/>
                <a:gd name="T32" fmla="*/ 4 w 414"/>
                <a:gd name="T33" fmla="*/ 169 h 429"/>
                <a:gd name="T34" fmla="*/ 16 w 414"/>
                <a:gd name="T35" fmla="*/ 129 h 429"/>
                <a:gd name="T36" fmla="*/ 36 w 414"/>
                <a:gd name="T37" fmla="*/ 91 h 429"/>
                <a:gd name="T38" fmla="*/ 60 w 414"/>
                <a:gd name="T39" fmla="*/ 61 h 429"/>
                <a:gd name="T40" fmla="*/ 92 w 414"/>
                <a:gd name="T41" fmla="*/ 36 h 429"/>
                <a:gd name="T42" fmla="*/ 128 w 414"/>
                <a:gd name="T43" fmla="*/ 16 h 429"/>
                <a:gd name="T44" fmla="*/ 168 w 414"/>
                <a:gd name="T45" fmla="*/ 4 h 429"/>
                <a:gd name="T46" fmla="*/ 212 w 414"/>
                <a:gd name="T47" fmla="*/ 0 h 429"/>
                <a:gd name="T48" fmla="*/ 232 w 414"/>
                <a:gd name="T49" fmla="*/ 2 h 429"/>
                <a:gd name="T50" fmla="*/ 272 w 414"/>
                <a:gd name="T51" fmla="*/ 10 h 429"/>
                <a:gd name="T52" fmla="*/ 308 w 414"/>
                <a:gd name="T53" fmla="*/ 26 h 429"/>
                <a:gd name="T54" fmla="*/ 342 w 414"/>
                <a:gd name="T55" fmla="*/ 45 h 429"/>
                <a:gd name="T56" fmla="*/ 368 w 414"/>
                <a:gd name="T57" fmla="*/ 73 h 429"/>
                <a:gd name="T58" fmla="*/ 390 w 414"/>
                <a:gd name="T59" fmla="*/ 107 h 429"/>
                <a:gd name="T60" fmla="*/ 406 w 414"/>
                <a:gd name="T61" fmla="*/ 143 h 429"/>
                <a:gd name="T62" fmla="*/ 414 w 414"/>
                <a:gd name="T63" fmla="*/ 185 h 429"/>
                <a:gd name="T64" fmla="*/ 414 w 414"/>
                <a:gd name="T65" fmla="*/ 207 h 429"/>
                <a:gd name="T66" fmla="*/ 412 w 414"/>
                <a:gd name="T67" fmla="*/ 235 h 429"/>
                <a:gd name="T68" fmla="*/ 102 w 414"/>
                <a:gd name="T69" fmla="*/ 247 h 429"/>
                <a:gd name="T70" fmla="*/ 108 w 414"/>
                <a:gd name="T71" fmla="*/ 267 h 429"/>
                <a:gd name="T72" fmla="*/ 126 w 414"/>
                <a:gd name="T73" fmla="*/ 303 h 429"/>
                <a:gd name="T74" fmla="*/ 154 w 414"/>
                <a:gd name="T75" fmla="*/ 329 h 429"/>
                <a:gd name="T76" fmla="*/ 190 w 414"/>
                <a:gd name="T77" fmla="*/ 343 h 429"/>
                <a:gd name="T78" fmla="*/ 212 w 414"/>
                <a:gd name="T79" fmla="*/ 345 h 429"/>
                <a:gd name="T80" fmla="*/ 244 w 414"/>
                <a:gd name="T81" fmla="*/ 339 h 429"/>
                <a:gd name="T82" fmla="*/ 270 w 414"/>
                <a:gd name="T83" fmla="*/ 329 h 429"/>
                <a:gd name="T84" fmla="*/ 286 w 414"/>
                <a:gd name="T85" fmla="*/ 315 h 429"/>
                <a:gd name="T86" fmla="*/ 296 w 414"/>
                <a:gd name="T87" fmla="*/ 299 h 429"/>
                <a:gd name="T88" fmla="*/ 312 w 414"/>
                <a:gd name="T89" fmla="*/ 179 h 429"/>
                <a:gd name="T90" fmla="*/ 308 w 414"/>
                <a:gd name="T91" fmla="*/ 159 h 429"/>
                <a:gd name="T92" fmla="*/ 292 w 414"/>
                <a:gd name="T93" fmla="*/ 125 h 429"/>
                <a:gd name="T94" fmla="*/ 266 w 414"/>
                <a:gd name="T95" fmla="*/ 101 h 429"/>
                <a:gd name="T96" fmla="*/ 232 w 414"/>
                <a:gd name="T97" fmla="*/ 87 h 429"/>
                <a:gd name="T98" fmla="*/ 212 w 414"/>
                <a:gd name="T99" fmla="*/ 85 h 429"/>
                <a:gd name="T100" fmla="*/ 170 w 414"/>
                <a:gd name="T101" fmla="*/ 93 h 429"/>
                <a:gd name="T102" fmla="*/ 138 w 414"/>
                <a:gd name="T103" fmla="*/ 111 h 429"/>
                <a:gd name="T104" fmla="*/ 116 w 414"/>
                <a:gd name="T105" fmla="*/ 141 h 429"/>
                <a:gd name="T106" fmla="*/ 102 w 414"/>
                <a:gd name="T107" fmla="*/ 179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429">
                  <a:moveTo>
                    <a:pt x="402" y="299"/>
                  </a:moveTo>
                  <a:lnTo>
                    <a:pt x="402" y="299"/>
                  </a:lnTo>
                  <a:lnTo>
                    <a:pt x="396" y="315"/>
                  </a:lnTo>
                  <a:lnTo>
                    <a:pt x="388" y="333"/>
                  </a:lnTo>
                  <a:lnTo>
                    <a:pt x="372" y="355"/>
                  </a:lnTo>
                  <a:lnTo>
                    <a:pt x="352" y="377"/>
                  </a:lnTo>
                  <a:lnTo>
                    <a:pt x="340" y="387"/>
                  </a:lnTo>
                  <a:lnTo>
                    <a:pt x="326" y="397"/>
                  </a:lnTo>
                  <a:lnTo>
                    <a:pt x="312" y="407"/>
                  </a:lnTo>
                  <a:lnTo>
                    <a:pt x="296" y="413"/>
                  </a:lnTo>
                  <a:lnTo>
                    <a:pt x="276" y="421"/>
                  </a:lnTo>
                  <a:lnTo>
                    <a:pt x="256" y="425"/>
                  </a:lnTo>
                  <a:lnTo>
                    <a:pt x="236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90" y="429"/>
                  </a:lnTo>
                  <a:lnTo>
                    <a:pt x="168" y="425"/>
                  </a:lnTo>
                  <a:lnTo>
                    <a:pt x="146" y="421"/>
                  </a:lnTo>
                  <a:lnTo>
                    <a:pt x="128" y="413"/>
                  </a:lnTo>
                  <a:lnTo>
                    <a:pt x="108" y="405"/>
                  </a:lnTo>
                  <a:lnTo>
                    <a:pt x="92" y="395"/>
                  </a:lnTo>
                  <a:lnTo>
                    <a:pt x="76" y="383"/>
                  </a:lnTo>
                  <a:lnTo>
                    <a:pt x="60" y="369"/>
                  </a:lnTo>
                  <a:lnTo>
                    <a:pt x="48" y="355"/>
                  </a:lnTo>
                  <a:lnTo>
                    <a:pt x="36" y="337"/>
                  </a:lnTo>
                  <a:lnTo>
                    <a:pt x="26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6" y="109"/>
                  </a:lnTo>
                  <a:lnTo>
                    <a:pt x="36" y="91"/>
                  </a:lnTo>
                  <a:lnTo>
                    <a:pt x="48" y="75"/>
                  </a:lnTo>
                  <a:lnTo>
                    <a:pt x="60" y="61"/>
                  </a:lnTo>
                  <a:lnTo>
                    <a:pt x="76" y="47"/>
                  </a:lnTo>
                  <a:lnTo>
                    <a:pt x="92" y="36"/>
                  </a:lnTo>
                  <a:lnTo>
                    <a:pt x="108" y="26"/>
                  </a:lnTo>
                  <a:lnTo>
                    <a:pt x="128" y="16"/>
                  </a:lnTo>
                  <a:lnTo>
                    <a:pt x="146" y="10"/>
                  </a:lnTo>
                  <a:lnTo>
                    <a:pt x="168" y="4"/>
                  </a:lnTo>
                  <a:lnTo>
                    <a:pt x="190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2" y="2"/>
                  </a:lnTo>
                  <a:lnTo>
                    <a:pt x="252" y="4"/>
                  </a:lnTo>
                  <a:lnTo>
                    <a:pt x="272" y="10"/>
                  </a:lnTo>
                  <a:lnTo>
                    <a:pt x="292" y="16"/>
                  </a:lnTo>
                  <a:lnTo>
                    <a:pt x="308" y="26"/>
                  </a:lnTo>
                  <a:lnTo>
                    <a:pt x="326" y="36"/>
                  </a:lnTo>
                  <a:lnTo>
                    <a:pt x="342" y="45"/>
                  </a:lnTo>
                  <a:lnTo>
                    <a:pt x="356" y="59"/>
                  </a:lnTo>
                  <a:lnTo>
                    <a:pt x="368" y="73"/>
                  </a:lnTo>
                  <a:lnTo>
                    <a:pt x="380" y="89"/>
                  </a:lnTo>
                  <a:lnTo>
                    <a:pt x="390" y="107"/>
                  </a:lnTo>
                  <a:lnTo>
                    <a:pt x="398" y="125"/>
                  </a:lnTo>
                  <a:lnTo>
                    <a:pt x="406" y="143"/>
                  </a:lnTo>
                  <a:lnTo>
                    <a:pt x="410" y="163"/>
                  </a:lnTo>
                  <a:lnTo>
                    <a:pt x="414" y="185"/>
                  </a:lnTo>
                  <a:lnTo>
                    <a:pt x="414" y="207"/>
                  </a:lnTo>
                  <a:lnTo>
                    <a:pt x="414" y="207"/>
                  </a:lnTo>
                  <a:lnTo>
                    <a:pt x="414" y="223"/>
                  </a:lnTo>
                  <a:lnTo>
                    <a:pt x="412" y="235"/>
                  </a:lnTo>
                  <a:lnTo>
                    <a:pt x="410" y="247"/>
                  </a:lnTo>
                  <a:lnTo>
                    <a:pt x="102" y="247"/>
                  </a:lnTo>
                  <a:lnTo>
                    <a:pt x="102" y="247"/>
                  </a:lnTo>
                  <a:lnTo>
                    <a:pt x="108" y="267"/>
                  </a:lnTo>
                  <a:lnTo>
                    <a:pt x="114" y="287"/>
                  </a:lnTo>
                  <a:lnTo>
                    <a:pt x="126" y="303"/>
                  </a:lnTo>
                  <a:lnTo>
                    <a:pt x="138" y="317"/>
                  </a:lnTo>
                  <a:lnTo>
                    <a:pt x="154" y="329"/>
                  </a:lnTo>
                  <a:lnTo>
                    <a:pt x="172" y="337"/>
                  </a:lnTo>
                  <a:lnTo>
                    <a:pt x="190" y="343"/>
                  </a:lnTo>
                  <a:lnTo>
                    <a:pt x="212" y="345"/>
                  </a:lnTo>
                  <a:lnTo>
                    <a:pt x="212" y="345"/>
                  </a:lnTo>
                  <a:lnTo>
                    <a:pt x="228" y="343"/>
                  </a:lnTo>
                  <a:lnTo>
                    <a:pt x="244" y="339"/>
                  </a:lnTo>
                  <a:lnTo>
                    <a:pt x="258" y="335"/>
                  </a:lnTo>
                  <a:lnTo>
                    <a:pt x="270" y="329"/>
                  </a:lnTo>
                  <a:lnTo>
                    <a:pt x="278" y="321"/>
                  </a:lnTo>
                  <a:lnTo>
                    <a:pt x="286" y="315"/>
                  </a:lnTo>
                  <a:lnTo>
                    <a:pt x="292" y="307"/>
                  </a:lnTo>
                  <a:lnTo>
                    <a:pt x="296" y="299"/>
                  </a:lnTo>
                  <a:lnTo>
                    <a:pt x="402" y="299"/>
                  </a:lnTo>
                  <a:close/>
                  <a:moveTo>
                    <a:pt x="312" y="179"/>
                  </a:moveTo>
                  <a:lnTo>
                    <a:pt x="312" y="179"/>
                  </a:lnTo>
                  <a:lnTo>
                    <a:pt x="308" y="159"/>
                  </a:lnTo>
                  <a:lnTo>
                    <a:pt x="302" y="141"/>
                  </a:lnTo>
                  <a:lnTo>
                    <a:pt x="292" y="125"/>
                  </a:lnTo>
                  <a:lnTo>
                    <a:pt x="280" y="111"/>
                  </a:lnTo>
                  <a:lnTo>
                    <a:pt x="266" y="101"/>
                  </a:lnTo>
                  <a:lnTo>
                    <a:pt x="250" y="93"/>
                  </a:lnTo>
                  <a:lnTo>
                    <a:pt x="232" y="87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190" y="87"/>
                  </a:lnTo>
                  <a:lnTo>
                    <a:pt x="170" y="93"/>
                  </a:lnTo>
                  <a:lnTo>
                    <a:pt x="154" y="101"/>
                  </a:lnTo>
                  <a:lnTo>
                    <a:pt x="138" y="111"/>
                  </a:lnTo>
                  <a:lnTo>
                    <a:pt x="126" y="125"/>
                  </a:lnTo>
                  <a:lnTo>
                    <a:pt x="116" y="141"/>
                  </a:lnTo>
                  <a:lnTo>
                    <a:pt x="108" y="159"/>
                  </a:lnTo>
                  <a:lnTo>
                    <a:pt x="102" y="179"/>
                  </a:lnTo>
                  <a:lnTo>
                    <a:pt x="312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930592A1-4F33-4F06-AFE1-9C0D395E4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88020" y="4019241"/>
              <a:ext cx="411163" cy="912813"/>
            </a:xfrm>
            <a:custGeom>
              <a:avLst/>
              <a:gdLst>
                <a:gd name="T0" fmla="*/ 69 w 259"/>
                <a:gd name="T1" fmla="*/ 259 h 575"/>
                <a:gd name="T2" fmla="*/ 0 w 259"/>
                <a:gd name="T3" fmla="*/ 259 h 575"/>
                <a:gd name="T4" fmla="*/ 0 w 259"/>
                <a:gd name="T5" fmla="*/ 162 h 575"/>
                <a:gd name="T6" fmla="*/ 69 w 259"/>
                <a:gd name="T7" fmla="*/ 162 h 575"/>
                <a:gd name="T8" fmla="*/ 69 w 259"/>
                <a:gd name="T9" fmla="*/ 102 h 575"/>
                <a:gd name="T10" fmla="*/ 69 w 259"/>
                <a:gd name="T11" fmla="*/ 102 h 575"/>
                <a:gd name="T12" fmla="*/ 71 w 259"/>
                <a:gd name="T13" fmla="*/ 80 h 575"/>
                <a:gd name="T14" fmla="*/ 75 w 259"/>
                <a:gd name="T15" fmla="*/ 60 h 575"/>
                <a:gd name="T16" fmla="*/ 85 w 259"/>
                <a:gd name="T17" fmla="*/ 42 h 575"/>
                <a:gd name="T18" fmla="*/ 97 w 259"/>
                <a:gd name="T19" fmla="*/ 28 h 575"/>
                <a:gd name="T20" fmla="*/ 111 w 259"/>
                <a:gd name="T21" fmla="*/ 16 h 575"/>
                <a:gd name="T22" fmla="*/ 129 w 259"/>
                <a:gd name="T23" fmla="*/ 8 h 575"/>
                <a:gd name="T24" fmla="*/ 147 w 259"/>
                <a:gd name="T25" fmla="*/ 2 h 575"/>
                <a:gd name="T26" fmla="*/ 169 w 259"/>
                <a:gd name="T27" fmla="*/ 0 h 575"/>
                <a:gd name="T28" fmla="*/ 259 w 259"/>
                <a:gd name="T29" fmla="*/ 0 h 575"/>
                <a:gd name="T30" fmla="*/ 259 w 259"/>
                <a:gd name="T31" fmla="*/ 90 h 575"/>
                <a:gd name="T32" fmla="*/ 199 w 259"/>
                <a:gd name="T33" fmla="*/ 90 h 575"/>
                <a:gd name="T34" fmla="*/ 199 w 259"/>
                <a:gd name="T35" fmla="*/ 90 h 575"/>
                <a:gd name="T36" fmla="*/ 187 w 259"/>
                <a:gd name="T37" fmla="*/ 92 h 575"/>
                <a:gd name="T38" fmla="*/ 179 w 259"/>
                <a:gd name="T39" fmla="*/ 98 h 575"/>
                <a:gd name="T40" fmla="*/ 173 w 259"/>
                <a:gd name="T41" fmla="*/ 106 h 575"/>
                <a:gd name="T42" fmla="*/ 169 w 259"/>
                <a:gd name="T43" fmla="*/ 118 h 575"/>
                <a:gd name="T44" fmla="*/ 169 w 259"/>
                <a:gd name="T45" fmla="*/ 162 h 575"/>
                <a:gd name="T46" fmla="*/ 259 w 259"/>
                <a:gd name="T47" fmla="*/ 162 h 575"/>
                <a:gd name="T48" fmla="*/ 259 w 259"/>
                <a:gd name="T49" fmla="*/ 259 h 575"/>
                <a:gd name="T50" fmla="*/ 169 w 259"/>
                <a:gd name="T51" fmla="*/ 259 h 575"/>
                <a:gd name="T52" fmla="*/ 169 w 259"/>
                <a:gd name="T53" fmla="*/ 575 h 575"/>
                <a:gd name="T54" fmla="*/ 69 w 259"/>
                <a:gd name="T55" fmla="*/ 575 h 575"/>
                <a:gd name="T56" fmla="*/ 69 w 259"/>
                <a:gd name="T57" fmla="*/ 259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9" h="575">
                  <a:moveTo>
                    <a:pt x="69" y="259"/>
                  </a:moveTo>
                  <a:lnTo>
                    <a:pt x="0" y="259"/>
                  </a:lnTo>
                  <a:lnTo>
                    <a:pt x="0" y="162"/>
                  </a:lnTo>
                  <a:lnTo>
                    <a:pt x="69" y="162"/>
                  </a:lnTo>
                  <a:lnTo>
                    <a:pt x="69" y="102"/>
                  </a:lnTo>
                  <a:lnTo>
                    <a:pt x="69" y="102"/>
                  </a:lnTo>
                  <a:lnTo>
                    <a:pt x="71" y="80"/>
                  </a:lnTo>
                  <a:lnTo>
                    <a:pt x="75" y="60"/>
                  </a:lnTo>
                  <a:lnTo>
                    <a:pt x="85" y="42"/>
                  </a:lnTo>
                  <a:lnTo>
                    <a:pt x="97" y="28"/>
                  </a:lnTo>
                  <a:lnTo>
                    <a:pt x="111" y="16"/>
                  </a:lnTo>
                  <a:lnTo>
                    <a:pt x="129" y="8"/>
                  </a:lnTo>
                  <a:lnTo>
                    <a:pt x="147" y="2"/>
                  </a:lnTo>
                  <a:lnTo>
                    <a:pt x="169" y="0"/>
                  </a:lnTo>
                  <a:lnTo>
                    <a:pt x="259" y="0"/>
                  </a:lnTo>
                  <a:lnTo>
                    <a:pt x="259" y="90"/>
                  </a:lnTo>
                  <a:lnTo>
                    <a:pt x="199" y="90"/>
                  </a:lnTo>
                  <a:lnTo>
                    <a:pt x="199" y="90"/>
                  </a:lnTo>
                  <a:lnTo>
                    <a:pt x="187" y="92"/>
                  </a:lnTo>
                  <a:lnTo>
                    <a:pt x="179" y="98"/>
                  </a:lnTo>
                  <a:lnTo>
                    <a:pt x="173" y="106"/>
                  </a:lnTo>
                  <a:lnTo>
                    <a:pt x="169" y="118"/>
                  </a:lnTo>
                  <a:lnTo>
                    <a:pt x="169" y="162"/>
                  </a:lnTo>
                  <a:lnTo>
                    <a:pt x="259" y="162"/>
                  </a:lnTo>
                  <a:lnTo>
                    <a:pt x="259" y="259"/>
                  </a:lnTo>
                  <a:lnTo>
                    <a:pt x="169" y="259"/>
                  </a:lnTo>
                  <a:lnTo>
                    <a:pt x="169" y="575"/>
                  </a:lnTo>
                  <a:lnTo>
                    <a:pt x="69" y="575"/>
                  </a:lnTo>
                  <a:lnTo>
                    <a:pt x="69" y="2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B52DFCE3-4C30-49DE-84F4-A0D36B6AC7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524583" y="4263716"/>
              <a:ext cx="669925" cy="681038"/>
            </a:xfrm>
            <a:custGeom>
              <a:avLst/>
              <a:gdLst>
                <a:gd name="T0" fmla="*/ 422 w 422"/>
                <a:gd name="T1" fmla="*/ 215 h 429"/>
                <a:gd name="T2" fmla="*/ 418 w 422"/>
                <a:gd name="T3" fmla="*/ 261 h 429"/>
                <a:gd name="T4" fmla="*/ 406 w 422"/>
                <a:gd name="T5" fmla="*/ 301 h 429"/>
                <a:gd name="T6" fmla="*/ 386 w 422"/>
                <a:gd name="T7" fmla="*/ 337 h 429"/>
                <a:gd name="T8" fmla="*/ 362 w 422"/>
                <a:gd name="T9" fmla="*/ 369 h 429"/>
                <a:gd name="T10" fmla="*/ 330 w 422"/>
                <a:gd name="T11" fmla="*/ 395 h 429"/>
                <a:gd name="T12" fmla="*/ 294 w 422"/>
                <a:gd name="T13" fmla="*/ 413 h 429"/>
                <a:gd name="T14" fmla="*/ 254 w 422"/>
                <a:gd name="T15" fmla="*/ 425 h 429"/>
                <a:gd name="T16" fmla="*/ 210 w 422"/>
                <a:gd name="T17" fmla="*/ 429 h 429"/>
                <a:gd name="T18" fmla="*/ 188 w 422"/>
                <a:gd name="T19" fmla="*/ 429 h 429"/>
                <a:gd name="T20" fmla="*/ 146 w 422"/>
                <a:gd name="T21" fmla="*/ 421 h 429"/>
                <a:gd name="T22" fmla="*/ 108 w 422"/>
                <a:gd name="T23" fmla="*/ 405 h 429"/>
                <a:gd name="T24" fmla="*/ 74 w 422"/>
                <a:gd name="T25" fmla="*/ 383 h 429"/>
                <a:gd name="T26" fmla="*/ 46 w 422"/>
                <a:gd name="T27" fmla="*/ 355 h 429"/>
                <a:gd name="T28" fmla="*/ 24 w 422"/>
                <a:gd name="T29" fmla="*/ 321 h 429"/>
                <a:gd name="T30" fmla="*/ 8 w 422"/>
                <a:gd name="T31" fmla="*/ 281 h 429"/>
                <a:gd name="T32" fmla="*/ 0 w 422"/>
                <a:gd name="T33" fmla="*/ 237 h 429"/>
                <a:gd name="T34" fmla="*/ 0 w 422"/>
                <a:gd name="T35" fmla="*/ 215 h 429"/>
                <a:gd name="T36" fmla="*/ 4 w 422"/>
                <a:gd name="T37" fmla="*/ 169 h 429"/>
                <a:gd name="T38" fmla="*/ 16 w 422"/>
                <a:gd name="T39" fmla="*/ 129 h 429"/>
                <a:gd name="T40" fmla="*/ 34 w 422"/>
                <a:gd name="T41" fmla="*/ 91 h 429"/>
                <a:gd name="T42" fmla="*/ 60 w 422"/>
                <a:gd name="T43" fmla="*/ 61 h 429"/>
                <a:gd name="T44" fmla="*/ 90 w 422"/>
                <a:gd name="T45" fmla="*/ 36 h 429"/>
                <a:gd name="T46" fmla="*/ 126 w 422"/>
                <a:gd name="T47" fmla="*/ 16 h 429"/>
                <a:gd name="T48" fmla="*/ 166 w 422"/>
                <a:gd name="T49" fmla="*/ 4 h 429"/>
                <a:gd name="T50" fmla="*/ 210 w 422"/>
                <a:gd name="T51" fmla="*/ 0 h 429"/>
                <a:gd name="T52" fmla="*/ 232 w 422"/>
                <a:gd name="T53" fmla="*/ 2 h 429"/>
                <a:gd name="T54" fmla="*/ 274 w 422"/>
                <a:gd name="T55" fmla="*/ 10 h 429"/>
                <a:gd name="T56" fmla="*/ 314 w 422"/>
                <a:gd name="T57" fmla="*/ 26 h 429"/>
                <a:gd name="T58" fmla="*/ 346 w 422"/>
                <a:gd name="T59" fmla="*/ 47 h 429"/>
                <a:gd name="T60" fmla="*/ 374 w 422"/>
                <a:gd name="T61" fmla="*/ 75 h 429"/>
                <a:gd name="T62" fmla="*/ 396 w 422"/>
                <a:gd name="T63" fmla="*/ 109 h 429"/>
                <a:gd name="T64" fmla="*/ 412 w 422"/>
                <a:gd name="T65" fmla="*/ 149 h 429"/>
                <a:gd name="T66" fmla="*/ 420 w 422"/>
                <a:gd name="T67" fmla="*/ 191 h 429"/>
                <a:gd name="T68" fmla="*/ 422 w 422"/>
                <a:gd name="T69" fmla="*/ 215 h 429"/>
                <a:gd name="T70" fmla="*/ 320 w 422"/>
                <a:gd name="T71" fmla="*/ 215 h 429"/>
                <a:gd name="T72" fmla="*/ 312 w 422"/>
                <a:gd name="T73" fmla="*/ 165 h 429"/>
                <a:gd name="T74" fmla="*/ 288 w 422"/>
                <a:gd name="T75" fmla="*/ 127 h 429"/>
                <a:gd name="T76" fmla="*/ 252 w 422"/>
                <a:gd name="T77" fmla="*/ 101 h 429"/>
                <a:gd name="T78" fmla="*/ 210 w 422"/>
                <a:gd name="T79" fmla="*/ 93 h 429"/>
                <a:gd name="T80" fmla="*/ 188 w 422"/>
                <a:gd name="T81" fmla="*/ 95 h 429"/>
                <a:gd name="T82" fmla="*/ 148 w 422"/>
                <a:gd name="T83" fmla="*/ 113 h 429"/>
                <a:gd name="T84" fmla="*/ 120 w 422"/>
                <a:gd name="T85" fmla="*/ 145 h 429"/>
                <a:gd name="T86" fmla="*/ 102 w 422"/>
                <a:gd name="T87" fmla="*/ 189 h 429"/>
                <a:gd name="T88" fmla="*/ 100 w 422"/>
                <a:gd name="T89" fmla="*/ 215 h 429"/>
                <a:gd name="T90" fmla="*/ 110 w 422"/>
                <a:gd name="T91" fmla="*/ 265 h 429"/>
                <a:gd name="T92" fmla="*/ 132 w 422"/>
                <a:gd name="T93" fmla="*/ 303 h 429"/>
                <a:gd name="T94" fmla="*/ 168 w 422"/>
                <a:gd name="T95" fmla="*/ 327 h 429"/>
                <a:gd name="T96" fmla="*/ 210 w 422"/>
                <a:gd name="T97" fmla="*/ 337 h 429"/>
                <a:gd name="T98" fmla="*/ 232 w 422"/>
                <a:gd name="T99" fmla="*/ 335 h 429"/>
                <a:gd name="T100" fmla="*/ 272 w 422"/>
                <a:gd name="T101" fmla="*/ 317 h 429"/>
                <a:gd name="T102" fmla="*/ 302 w 422"/>
                <a:gd name="T103" fmla="*/ 285 h 429"/>
                <a:gd name="T104" fmla="*/ 318 w 422"/>
                <a:gd name="T105" fmla="*/ 241 h 429"/>
                <a:gd name="T106" fmla="*/ 320 w 422"/>
                <a:gd name="T107" fmla="*/ 215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2" h="429">
                  <a:moveTo>
                    <a:pt x="422" y="215"/>
                  </a:moveTo>
                  <a:lnTo>
                    <a:pt x="422" y="215"/>
                  </a:lnTo>
                  <a:lnTo>
                    <a:pt x="420" y="237"/>
                  </a:lnTo>
                  <a:lnTo>
                    <a:pt x="418" y="261"/>
                  </a:lnTo>
                  <a:lnTo>
                    <a:pt x="412" y="281"/>
                  </a:lnTo>
                  <a:lnTo>
                    <a:pt x="406" y="301"/>
                  </a:lnTo>
                  <a:lnTo>
                    <a:pt x="396" y="321"/>
                  </a:lnTo>
                  <a:lnTo>
                    <a:pt x="386" y="337"/>
                  </a:lnTo>
                  <a:lnTo>
                    <a:pt x="374" y="355"/>
                  </a:lnTo>
                  <a:lnTo>
                    <a:pt x="362" y="369"/>
                  </a:lnTo>
                  <a:lnTo>
                    <a:pt x="346" y="383"/>
                  </a:lnTo>
                  <a:lnTo>
                    <a:pt x="330" y="395"/>
                  </a:lnTo>
                  <a:lnTo>
                    <a:pt x="314" y="405"/>
                  </a:lnTo>
                  <a:lnTo>
                    <a:pt x="294" y="413"/>
                  </a:lnTo>
                  <a:lnTo>
                    <a:pt x="274" y="421"/>
                  </a:lnTo>
                  <a:lnTo>
                    <a:pt x="254" y="425"/>
                  </a:lnTo>
                  <a:lnTo>
                    <a:pt x="232" y="429"/>
                  </a:lnTo>
                  <a:lnTo>
                    <a:pt x="210" y="429"/>
                  </a:lnTo>
                  <a:lnTo>
                    <a:pt x="210" y="429"/>
                  </a:lnTo>
                  <a:lnTo>
                    <a:pt x="188" y="429"/>
                  </a:lnTo>
                  <a:lnTo>
                    <a:pt x="166" y="425"/>
                  </a:lnTo>
                  <a:lnTo>
                    <a:pt x="146" y="421"/>
                  </a:lnTo>
                  <a:lnTo>
                    <a:pt x="126" y="413"/>
                  </a:lnTo>
                  <a:lnTo>
                    <a:pt x="108" y="405"/>
                  </a:lnTo>
                  <a:lnTo>
                    <a:pt x="90" y="395"/>
                  </a:lnTo>
                  <a:lnTo>
                    <a:pt x="74" y="383"/>
                  </a:lnTo>
                  <a:lnTo>
                    <a:pt x="60" y="369"/>
                  </a:lnTo>
                  <a:lnTo>
                    <a:pt x="46" y="355"/>
                  </a:lnTo>
                  <a:lnTo>
                    <a:pt x="34" y="337"/>
                  </a:lnTo>
                  <a:lnTo>
                    <a:pt x="24" y="321"/>
                  </a:lnTo>
                  <a:lnTo>
                    <a:pt x="16" y="301"/>
                  </a:lnTo>
                  <a:lnTo>
                    <a:pt x="8" y="281"/>
                  </a:lnTo>
                  <a:lnTo>
                    <a:pt x="4" y="261"/>
                  </a:lnTo>
                  <a:lnTo>
                    <a:pt x="0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0" y="191"/>
                  </a:lnTo>
                  <a:lnTo>
                    <a:pt x="4" y="169"/>
                  </a:lnTo>
                  <a:lnTo>
                    <a:pt x="8" y="149"/>
                  </a:lnTo>
                  <a:lnTo>
                    <a:pt x="16" y="129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6" y="75"/>
                  </a:lnTo>
                  <a:lnTo>
                    <a:pt x="60" y="61"/>
                  </a:lnTo>
                  <a:lnTo>
                    <a:pt x="74" y="47"/>
                  </a:lnTo>
                  <a:lnTo>
                    <a:pt x="90" y="36"/>
                  </a:lnTo>
                  <a:lnTo>
                    <a:pt x="108" y="26"/>
                  </a:lnTo>
                  <a:lnTo>
                    <a:pt x="126" y="16"/>
                  </a:lnTo>
                  <a:lnTo>
                    <a:pt x="146" y="10"/>
                  </a:lnTo>
                  <a:lnTo>
                    <a:pt x="166" y="4"/>
                  </a:lnTo>
                  <a:lnTo>
                    <a:pt x="188" y="2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32" y="2"/>
                  </a:lnTo>
                  <a:lnTo>
                    <a:pt x="254" y="4"/>
                  </a:lnTo>
                  <a:lnTo>
                    <a:pt x="274" y="10"/>
                  </a:lnTo>
                  <a:lnTo>
                    <a:pt x="294" y="16"/>
                  </a:lnTo>
                  <a:lnTo>
                    <a:pt x="314" y="26"/>
                  </a:lnTo>
                  <a:lnTo>
                    <a:pt x="330" y="36"/>
                  </a:lnTo>
                  <a:lnTo>
                    <a:pt x="346" y="47"/>
                  </a:lnTo>
                  <a:lnTo>
                    <a:pt x="362" y="61"/>
                  </a:lnTo>
                  <a:lnTo>
                    <a:pt x="374" y="75"/>
                  </a:lnTo>
                  <a:lnTo>
                    <a:pt x="386" y="91"/>
                  </a:lnTo>
                  <a:lnTo>
                    <a:pt x="396" y="109"/>
                  </a:lnTo>
                  <a:lnTo>
                    <a:pt x="406" y="129"/>
                  </a:lnTo>
                  <a:lnTo>
                    <a:pt x="412" y="149"/>
                  </a:lnTo>
                  <a:lnTo>
                    <a:pt x="418" y="169"/>
                  </a:lnTo>
                  <a:lnTo>
                    <a:pt x="420" y="191"/>
                  </a:lnTo>
                  <a:lnTo>
                    <a:pt x="422" y="215"/>
                  </a:lnTo>
                  <a:lnTo>
                    <a:pt x="422" y="215"/>
                  </a:lnTo>
                  <a:close/>
                  <a:moveTo>
                    <a:pt x="320" y="215"/>
                  </a:moveTo>
                  <a:lnTo>
                    <a:pt x="320" y="215"/>
                  </a:lnTo>
                  <a:lnTo>
                    <a:pt x="318" y="189"/>
                  </a:lnTo>
                  <a:lnTo>
                    <a:pt x="312" y="165"/>
                  </a:lnTo>
                  <a:lnTo>
                    <a:pt x="302" y="145"/>
                  </a:lnTo>
                  <a:lnTo>
                    <a:pt x="288" y="127"/>
                  </a:lnTo>
                  <a:lnTo>
                    <a:pt x="272" y="113"/>
                  </a:lnTo>
                  <a:lnTo>
                    <a:pt x="252" y="101"/>
                  </a:lnTo>
                  <a:lnTo>
                    <a:pt x="232" y="95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188" y="95"/>
                  </a:lnTo>
                  <a:lnTo>
                    <a:pt x="168" y="101"/>
                  </a:lnTo>
                  <a:lnTo>
                    <a:pt x="148" y="113"/>
                  </a:lnTo>
                  <a:lnTo>
                    <a:pt x="132" y="127"/>
                  </a:lnTo>
                  <a:lnTo>
                    <a:pt x="120" y="145"/>
                  </a:lnTo>
                  <a:lnTo>
                    <a:pt x="110" y="165"/>
                  </a:lnTo>
                  <a:lnTo>
                    <a:pt x="102" y="189"/>
                  </a:lnTo>
                  <a:lnTo>
                    <a:pt x="100" y="215"/>
                  </a:lnTo>
                  <a:lnTo>
                    <a:pt x="100" y="215"/>
                  </a:lnTo>
                  <a:lnTo>
                    <a:pt x="102" y="241"/>
                  </a:lnTo>
                  <a:lnTo>
                    <a:pt x="110" y="265"/>
                  </a:lnTo>
                  <a:lnTo>
                    <a:pt x="120" y="285"/>
                  </a:lnTo>
                  <a:lnTo>
                    <a:pt x="132" y="303"/>
                  </a:lnTo>
                  <a:lnTo>
                    <a:pt x="148" y="317"/>
                  </a:lnTo>
                  <a:lnTo>
                    <a:pt x="168" y="327"/>
                  </a:lnTo>
                  <a:lnTo>
                    <a:pt x="188" y="335"/>
                  </a:lnTo>
                  <a:lnTo>
                    <a:pt x="210" y="337"/>
                  </a:lnTo>
                  <a:lnTo>
                    <a:pt x="210" y="337"/>
                  </a:lnTo>
                  <a:lnTo>
                    <a:pt x="232" y="335"/>
                  </a:lnTo>
                  <a:lnTo>
                    <a:pt x="252" y="327"/>
                  </a:lnTo>
                  <a:lnTo>
                    <a:pt x="272" y="317"/>
                  </a:lnTo>
                  <a:lnTo>
                    <a:pt x="288" y="303"/>
                  </a:lnTo>
                  <a:lnTo>
                    <a:pt x="302" y="285"/>
                  </a:lnTo>
                  <a:lnTo>
                    <a:pt x="312" y="265"/>
                  </a:lnTo>
                  <a:lnTo>
                    <a:pt x="318" y="241"/>
                  </a:lnTo>
                  <a:lnTo>
                    <a:pt x="320" y="215"/>
                  </a:lnTo>
                  <a:lnTo>
                    <a:pt x="320" y="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65BFD84D-36E7-4982-B166-BCA7952FF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9758" y="4263716"/>
              <a:ext cx="606425" cy="668338"/>
            </a:xfrm>
            <a:custGeom>
              <a:avLst/>
              <a:gdLst>
                <a:gd name="T0" fmla="*/ 0 w 382"/>
                <a:gd name="T1" fmla="*/ 8 h 421"/>
                <a:gd name="T2" fmla="*/ 94 w 382"/>
                <a:gd name="T3" fmla="*/ 8 h 421"/>
                <a:gd name="T4" fmla="*/ 102 w 382"/>
                <a:gd name="T5" fmla="*/ 49 h 421"/>
                <a:gd name="T6" fmla="*/ 106 w 382"/>
                <a:gd name="T7" fmla="*/ 49 h 421"/>
                <a:gd name="T8" fmla="*/ 106 w 382"/>
                <a:gd name="T9" fmla="*/ 49 h 421"/>
                <a:gd name="T10" fmla="*/ 118 w 382"/>
                <a:gd name="T11" fmla="*/ 36 h 421"/>
                <a:gd name="T12" fmla="*/ 132 w 382"/>
                <a:gd name="T13" fmla="*/ 26 h 421"/>
                <a:gd name="T14" fmla="*/ 132 w 382"/>
                <a:gd name="T15" fmla="*/ 26 h 421"/>
                <a:gd name="T16" fmla="*/ 148 w 382"/>
                <a:gd name="T17" fmla="*/ 16 h 421"/>
                <a:gd name="T18" fmla="*/ 168 w 382"/>
                <a:gd name="T19" fmla="*/ 8 h 421"/>
                <a:gd name="T20" fmla="*/ 192 w 382"/>
                <a:gd name="T21" fmla="*/ 2 h 421"/>
                <a:gd name="T22" fmla="*/ 218 w 382"/>
                <a:gd name="T23" fmla="*/ 0 h 421"/>
                <a:gd name="T24" fmla="*/ 218 w 382"/>
                <a:gd name="T25" fmla="*/ 0 h 421"/>
                <a:gd name="T26" fmla="*/ 236 w 382"/>
                <a:gd name="T27" fmla="*/ 2 h 421"/>
                <a:gd name="T28" fmla="*/ 252 w 382"/>
                <a:gd name="T29" fmla="*/ 4 h 421"/>
                <a:gd name="T30" fmla="*/ 268 w 382"/>
                <a:gd name="T31" fmla="*/ 8 h 421"/>
                <a:gd name="T32" fmla="*/ 284 w 382"/>
                <a:gd name="T33" fmla="*/ 14 h 421"/>
                <a:gd name="T34" fmla="*/ 298 w 382"/>
                <a:gd name="T35" fmla="*/ 20 h 421"/>
                <a:gd name="T36" fmla="*/ 312 w 382"/>
                <a:gd name="T37" fmla="*/ 28 h 421"/>
                <a:gd name="T38" fmla="*/ 324 w 382"/>
                <a:gd name="T39" fmla="*/ 38 h 421"/>
                <a:gd name="T40" fmla="*/ 334 w 382"/>
                <a:gd name="T41" fmla="*/ 47 h 421"/>
                <a:gd name="T42" fmla="*/ 346 w 382"/>
                <a:gd name="T43" fmla="*/ 59 h 421"/>
                <a:gd name="T44" fmla="*/ 354 w 382"/>
                <a:gd name="T45" fmla="*/ 73 h 421"/>
                <a:gd name="T46" fmla="*/ 362 w 382"/>
                <a:gd name="T47" fmla="*/ 87 h 421"/>
                <a:gd name="T48" fmla="*/ 368 w 382"/>
                <a:gd name="T49" fmla="*/ 103 h 421"/>
                <a:gd name="T50" fmla="*/ 374 w 382"/>
                <a:gd name="T51" fmla="*/ 119 h 421"/>
                <a:gd name="T52" fmla="*/ 378 w 382"/>
                <a:gd name="T53" fmla="*/ 137 h 421"/>
                <a:gd name="T54" fmla="*/ 380 w 382"/>
                <a:gd name="T55" fmla="*/ 155 h 421"/>
                <a:gd name="T56" fmla="*/ 382 w 382"/>
                <a:gd name="T57" fmla="*/ 175 h 421"/>
                <a:gd name="T58" fmla="*/ 382 w 382"/>
                <a:gd name="T59" fmla="*/ 421 h 421"/>
                <a:gd name="T60" fmla="*/ 280 w 382"/>
                <a:gd name="T61" fmla="*/ 421 h 421"/>
                <a:gd name="T62" fmla="*/ 280 w 382"/>
                <a:gd name="T63" fmla="*/ 183 h 421"/>
                <a:gd name="T64" fmla="*/ 280 w 382"/>
                <a:gd name="T65" fmla="*/ 183 h 421"/>
                <a:gd name="T66" fmla="*/ 278 w 382"/>
                <a:gd name="T67" fmla="*/ 163 h 421"/>
                <a:gd name="T68" fmla="*/ 274 w 382"/>
                <a:gd name="T69" fmla="*/ 147 h 421"/>
                <a:gd name="T70" fmla="*/ 266 w 382"/>
                <a:gd name="T71" fmla="*/ 131 h 421"/>
                <a:gd name="T72" fmla="*/ 254 w 382"/>
                <a:gd name="T73" fmla="*/ 117 h 421"/>
                <a:gd name="T74" fmla="*/ 242 w 382"/>
                <a:gd name="T75" fmla="*/ 107 h 421"/>
                <a:gd name="T76" fmla="*/ 226 w 382"/>
                <a:gd name="T77" fmla="*/ 99 h 421"/>
                <a:gd name="T78" fmla="*/ 210 w 382"/>
                <a:gd name="T79" fmla="*/ 95 h 421"/>
                <a:gd name="T80" fmla="*/ 190 w 382"/>
                <a:gd name="T81" fmla="*/ 93 h 421"/>
                <a:gd name="T82" fmla="*/ 190 w 382"/>
                <a:gd name="T83" fmla="*/ 93 h 421"/>
                <a:gd name="T84" fmla="*/ 172 w 382"/>
                <a:gd name="T85" fmla="*/ 95 h 421"/>
                <a:gd name="T86" fmla="*/ 154 w 382"/>
                <a:gd name="T87" fmla="*/ 99 h 421"/>
                <a:gd name="T88" fmla="*/ 140 w 382"/>
                <a:gd name="T89" fmla="*/ 107 h 421"/>
                <a:gd name="T90" fmla="*/ 126 w 382"/>
                <a:gd name="T91" fmla="*/ 117 h 421"/>
                <a:gd name="T92" fmla="*/ 116 w 382"/>
                <a:gd name="T93" fmla="*/ 131 h 421"/>
                <a:gd name="T94" fmla="*/ 108 w 382"/>
                <a:gd name="T95" fmla="*/ 147 h 421"/>
                <a:gd name="T96" fmla="*/ 102 w 382"/>
                <a:gd name="T97" fmla="*/ 163 h 421"/>
                <a:gd name="T98" fmla="*/ 102 w 382"/>
                <a:gd name="T99" fmla="*/ 183 h 421"/>
                <a:gd name="T100" fmla="*/ 102 w 382"/>
                <a:gd name="T101" fmla="*/ 421 h 421"/>
                <a:gd name="T102" fmla="*/ 0 w 382"/>
                <a:gd name="T103" fmla="*/ 421 h 421"/>
                <a:gd name="T104" fmla="*/ 0 w 382"/>
                <a:gd name="T105" fmla="*/ 8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2" h="421">
                  <a:moveTo>
                    <a:pt x="0" y="8"/>
                  </a:moveTo>
                  <a:lnTo>
                    <a:pt x="94" y="8"/>
                  </a:lnTo>
                  <a:lnTo>
                    <a:pt x="102" y="49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18" y="36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48" y="16"/>
                  </a:lnTo>
                  <a:lnTo>
                    <a:pt x="168" y="8"/>
                  </a:lnTo>
                  <a:lnTo>
                    <a:pt x="192" y="2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36" y="2"/>
                  </a:lnTo>
                  <a:lnTo>
                    <a:pt x="252" y="4"/>
                  </a:lnTo>
                  <a:lnTo>
                    <a:pt x="268" y="8"/>
                  </a:lnTo>
                  <a:lnTo>
                    <a:pt x="284" y="14"/>
                  </a:lnTo>
                  <a:lnTo>
                    <a:pt x="298" y="20"/>
                  </a:lnTo>
                  <a:lnTo>
                    <a:pt x="312" y="28"/>
                  </a:lnTo>
                  <a:lnTo>
                    <a:pt x="324" y="38"/>
                  </a:lnTo>
                  <a:lnTo>
                    <a:pt x="334" y="47"/>
                  </a:lnTo>
                  <a:lnTo>
                    <a:pt x="346" y="59"/>
                  </a:lnTo>
                  <a:lnTo>
                    <a:pt x="354" y="73"/>
                  </a:lnTo>
                  <a:lnTo>
                    <a:pt x="362" y="87"/>
                  </a:lnTo>
                  <a:lnTo>
                    <a:pt x="368" y="103"/>
                  </a:lnTo>
                  <a:lnTo>
                    <a:pt x="374" y="119"/>
                  </a:lnTo>
                  <a:lnTo>
                    <a:pt x="378" y="137"/>
                  </a:lnTo>
                  <a:lnTo>
                    <a:pt x="380" y="155"/>
                  </a:lnTo>
                  <a:lnTo>
                    <a:pt x="382" y="175"/>
                  </a:lnTo>
                  <a:lnTo>
                    <a:pt x="382" y="421"/>
                  </a:lnTo>
                  <a:lnTo>
                    <a:pt x="280" y="421"/>
                  </a:lnTo>
                  <a:lnTo>
                    <a:pt x="280" y="183"/>
                  </a:lnTo>
                  <a:lnTo>
                    <a:pt x="280" y="183"/>
                  </a:lnTo>
                  <a:lnTo>
                    <a:pt x="278" y="163"/>
                  </a:lnTo>
                  <a:lnTo>
                    <a:pt x="274" y="147"/>
                  </a:lnTo>
                  <a:lnTo>
                    <a:pt x="266" y="131"/>
                  </a:lnTo>
                  <a:lnTo>
                    <a:pt x="254" y="117"/>
                  </a:lnTo>
                  <a:lnTo>
                    <a:pt x="242" y="107"/>
                  </a:lnTo>
                  <a:lnTo>
                    <a:pt x="226" y="99"/>
                  </a:lnTo>
                  <a:lnTo>
                    <a:pt x="210" y="95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72" y="95"/>
                  </a:lnTo>
                  <a:lnTo>
                    <a:pt x="154" y="99"/>
                  </a:lnTo>
                  <a:lnTo>
                    <a:pt x="140" y="107"/>
                  </a:lnTo>
                  <a:lnTo>
                    <a:pt x="126" y="117"/>
                  </a:lnTo>
                  <a:lnTo>
                    <a:pt x="116" y="131"/>
                  </a:lnTo>
                  <a:lnTo>
                    <a:pt x="108" y="147"/>
                  </a:lnTo>
                  <a:lnTo>
                    <a:pt x="102" y="163"/>
                  </a:lnTo>
                  <a:lnTo>
                    <a:pt x="102" y="183"/>
                  </a:lnTo>
                  <a:lnTo>
                    <a:pt x="102" y="421"/>
                  </a:lnTo>
                  <a:lnTo>
                    <a:pt x="0" y="421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7A1D4C88-CA84-4B58-97AE-679D77E48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72420" y="4263716"/>
              <a:ext cx="644525" cy="681038"/>
            </a:xfrm>
            <a:custGeom>
              <a:avLst/>
              <a:gdLst>
                <a:gd name="T0" fmla="*/ 406 w 406"/>
                <a:gd name="T1" fmla="*/ 267 h 429"/>
                <a:gd name="T2" fmla="*/ 388 w 406"/>
                <a:gd name="T3" fmla="*/ 321 h 429"/>
                <a:gd name="T4" fmla="*/ 364 w 406"/>
                <a:gd name="T5" fmla="*/ 361 h 429"/>
                <a:gd name="T6" fmla="*/ 340 w 406"/>
                <a:gd name="T7" fmla="*/ 385 h 429"/>
                <a:gd name="T8" fmla="*/ 312 w 406"/>
                <a:gd name="T9" fmla="*/ 405 h 429"/>
                <a:gd name="T10" fmla="*/ 278 w 406"/>
                <a:gd name="T11" fmla="*/ 421 h 429"/>
                <a:gd name="T12" fmla="*/ 236 w 406"/>
                <a:gd name="T13" fmla="*/ 429 h 429"/>
                <a:gd name="T14" fmla="*/ 212 w 406"/>
                <a:gd name="T15" fmla="*/ 429 h 429"/>
                <a:gd name="T16" fmla="*/ 168 w 406"/>
                <a:gd name="T17" fmla="*/ 425 h 429"/>
                <a:gd name="T18" fmla="*/ 128 w 406"/>
                <a:gd name="T19" fmla="*/ 413 h 429"/>
                <a:gd name="T20" fmla="*/ 92 w 406"/>
                <a:gd name="T21" fmla="*/ 395 h 429"/>
                <a:gd name="T22" fmla="*/ 60 w 406"/>
                <a:gd name="T23" fmla="*/ 369 h 429"/>
                <a:gd name="T24" fmla="*/ 36 w 406"/>
                <a:gd name="T25" fmla="*/ 337 h 429"/>
                <a:gd name="T26" fmla="*/ 16 w 406"/>
                <a:gd name="T27" fmla="*/ 301 h 429"/>
                <a:gd name="T28" fmla="*/ 4 w 406"/>
                <a:gd name="T29" fmla="*/ 261 h 429"/>
                <a:gd name="T30" fmla="*/ 0 w 406"/>
                <a:gd name="T31" fmla="*/ 215 h 429"/>
                <a:gd name="T32" fmla="*/ 2 w 406"/>
                <a:gd name="T33" fmla="*/ 191 h 429"/>
                <a:gd name="T34" fmla="*/ 10 w 406"/>
                <a:gd name="T35" fmla="*/ 149 h 429"/>
                <a:gd name="T36" fmla="*/ 26 w 406"/>
                <a:gd name="T37" fmla="*/ 109 h 429"/>
                <a:gd name="T38" fmla="*/ 48 w 406"/>
                <a:gd name="T39" fmla="*/ 75 h 429"/>
                <a:gd name="T40" fmla="*/ 76 w 406"/>
                <a:gd name="T41" fmla="*/ 47 h 429"/>
                <a:gd name="T42" fmla="*/ 108 w 406"/>
                <a:gd name="T43" fmla="*/ 26 h 429"/>
                <a:gd name="T44" fmla="*/ 148 w 406"/>
                <a:gd name="T45" fmla="*/ 10 h 429"/>
                <a:gd name="T46" fmla="*/ 190 w 406"/>
                <a:gd name="T47" fmla="*/ 2 h 429"/>
                <a:gd name="T48" fmla="*/ 212 w 406"/>
                <a:gd name="T49" fmla="*/ 0 h 429"/>
                <a:gd name="T50" fmla="*/ 258 w 406"/>
                <a:gd name="T51" fmla="*/ 6 h 429"/>
                <a:gd name="T52" fmla="*/ 296 w 406"/>
                <a:gd name="T53" fmla="*/ 16 h 429"/>
                <a:gd name="T54" fmla="*/ 328 w 406"/>
                <a:gd name="T55" fmla="*/ 34 h 429"/>
                <a:gd name="T56" fmla="*/ 354 w 406"/>
                <a:gd name="T57" fmla="*/ 57 h 429"/>
                <a:gd name="T58" fmla="*/ 374 w 406"/>
                <a:gd name="T59" fmla="*/ 81 h 429"/>
                <a:gd name="T60" fmla="*/ 400 w 406"/>
                <a:gd name="T61" fmla="*/ 133 h 429"/>
                <a:gd name="T62" fmla="*/ 304 w 406"/>
                <a:gd name="T63" fmla="*/ 157 h 429"/>
                <a:gd name="T64" fmla="*/ 300 w 406"/>
                <a:gd name="T65" fmla="*/ 149 h 429"/>
                <a:gd name="T66" fmla="*/ 288 w 406"/>
                <a:gd name="T67" fmla="*/ 127 h 429"/>
                <a:gd name="T68" fmla="*/ 266 w 406"/>
                <a:gd name="T69" fmla="*/ 107 h 429"/>
                <a:gd name="T70" fmla="*/ 232 w 406"/>
                <a:gd name="T71" fmla="*/ 95 h 429"/>
                <a:gd name="T72" fmla="*/ 212 w 406"/>
                <a:gd name="T73" fmla="*/ 93 h 429"/>
                <a:gd name="T74" fmla="*/ 168 w 406"/>
                <a:gd name="T75" fmla="*/ 101 h 429"/>
                <a:gd name="T76" fmla="*/ 134 w 406"/>
                <a:gd name="T77" fmla="*/ 127 h 429"/>
                <a:gd name="T78" fmla="*/ 110 w 406"/>
                <a:gd name="T79" fmla="*/ 165 h 429"/>
                <a:gd name="T80" fmla="*/ 102 w 406"/>
                <a:gd name="T81" fmla="*/ 215 h 429"/>
                <a:gd name="T82" fmla="*/ 104 w 406"/>
                <a:gd name="T83" fmla="*/ 241 h 429"/>
                <a:gd name="T84" fmla="*/ 120 w 406"/>
                <a:gd name="T85" fmla="*/ 285 h 429"/>
                <a:gd name="T86" fmla="*/ 150 w 406"/>
                <a:gd name="T87" fmla="*/ 317 h 429"/>
                <a:gd name="T88" fmla="*/ 190 w 406"/>
                <a:gd name="T89" fmla="*/ 335 h 429"/>
                <a:gd name="T90" fmla="*/ 212 w 406"/>
                <a:gd name="T91" fmla="*/ 337 h 429"/>
                <a:gd name="T92" fmla="*/ 250 w 406"/>
                <a:gd name="T93" fmla="*/ 329 h 429"/>
                <a:gd name="T94" fmla="*/ 278 w 406"/>
                <a:gd name="T95" fmla="*/ 313 h 429"/>
                <a:gd name="T96" fmla="*/ 296 w 406"/>
                <a:gd name="T97" fmla="*/ 291 h 429"/>
                <a:gd name="T98" fmla="*/ 304 w 406"/>
                <a:gd name="T99" fmla="*/ 26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06" h="429">
                  <a:moveTo>
                    <a:pt x="406" y="267"/>
                  </a:moveTo>
                  <a:lnTo>
                    <a:pt x="406" y="267"/>
                  </a:lnTo>
                  <a:lnTo>
                    <a:pt x="400" y="293"/>
                  </a:lnTo>
                  <a:lnTo>
                    <a:pt x="388" y="321"/>
                  </a:lnTo>
                  <a:lnTo>
                    <a:pt x="374" y="347"/>
                  </a:lnTo>
                  <a:lnTo>
                    <a:pt x="364" y="361"/>
                  </a:lnTo>
                  <a:lnTo>
                    <a:pt x="354" y="373"/>
                  </a:lnTo>
                  <a:lnTo>
                    <a:pt x="340" y="385"/>
                  </a:lnTo>
                  <a:lnTo>
                    <a:pt x="328" y="395"/>
                  </a:lnTo>
                  <a:lnTo>
                    <a:pt x="312" y="405"/>
                  </a:lnTo>
                  <a:lnTo>
                    <a:pt x="296" y="413"/>
                  </a:lnTo>
                  <a:lnTo>
                    <a:pt x="278" y="421"/>
                  </a:lnTo>
                  <a:lnTo>
                    <a:pt x="258" y="425"/>
                  </a:lnTo>
                  <a:lnTo>
                    <a:pt x="236" y="429"/>
                  </a:lnTo>
                  <a:lnTo>
                    <a:pt x="212" y="429"/>
                  </a:lnTo>
                  <a:lnTo>
                    <a:pt x="212" y="429"/>
                  </a:lnTo>
                  <a:lnTo>
                    <a:pt x="190" y="429"/>
                  </a:lnTo>
                  <a:lnTo>
                    <a:pt x="168" y="425"/>
                  </a:lnTo>
                  <a:lnTo>
                    <a:pt x="148" y="421"/>
                  </a:lnTo>
                  <a:lnTo>
                    <a:pt x="128" y="413"/>
                  </a:lnTo>
                  <a:lnTo>
                    <a:pt x="108" y="405"/>
                  </a:lnTo>
                  <a:lnTo>
                    <a:pt x="92" y="395"/>
                  </a:lnTo>
                  <a:lnTo>
                    <a:pt x="76" y="383"/>
                  </a:lnTo>
                  <a:lnTo>
                    <a:pt x="60" y="369"/>
                  </a:lnTo>
                  <a:lnTo>
                    <a:pt x="48" y="355"/>
                  </a:lnTo>
                  <a:lnTo>
                    <a:pt x="36" y="337"/>
                  </a:lnTo>
                  <a:lnTo>
                    <a:pt x="26" y="321"/>
                  </a:lnTo>
                  <a:lnTo>
                    <a:pt x="16" y="301"/>
                  </a:lnTo>
                  <a:lnTo>
                    <a:pt x="10" y="281"/>
                  </a:lnTo>
                  <a:lnTo>
                    <a:pt x="4" y="261"/>
                  </a:lnTo>
                  <a:lnTo>
                    <a:pt x="2" y="237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191"/>
                  </a:lnTo>
                  <a:lnTo>
                    <a:pt x="4" y="169"/>
                  </a:lnTo>
                  <a:lnTo>
                    <a:pt x="10" y="149"/>
                  </a:lnTo>
                  <a:lnTo>
                    <a:pt x="16" y="129"/>
                  </a:lnTo>
                  <a:lnTo>
                    <a:pt x="26" y="109"/>
                  </a:lnTo>
                  <a:lnTo>
                    <a:pt x="36" y="91"/>
                  </a:lnTo>
                  <a:lnTo>
                    <a:pt x="48" y="75"/>
                  </a:lnTo>
                  <a:lnTo>
                    <a:pt x="60" y="61"/>
                  </a:lnTo>
                  <a:lnTo>
                    <a:pt x="76" y="47"/>
                  </a:lnTo>
                  <a:lnTo>
                    <a:pt x="92" y="36"/>
                  </a:lnTo>
                  <a:lnTo>
                    <a:pt x="108" y="26"/>
                  </a:lnTo>
                  <a:lnTo>
                    <a:pt x="128" y="16"/>
                  </a:lnTo>
                  <a:lnTo>
                    <a:pt x="148" y="10"/>
                  </a:lnTo>
                  <a:lnTo>
                    <a:pt x="168" y="4"/>
                  </a:lnTo>
                  <a:lnTo>
                    <a:pt x="190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6" y="2"/>
                  </a:lnTo>
                  <a:lnTo>
                    <a:pt x="258" y="6"/>
                  </a:lnTo>
                  <a:lnTo>
                    <a:pt x="278" y="10"/>
                  </a:lnTo>
                  <a:lnTo>
                    <a:pt x="296" y="16"/>
                  </a:lnTo>
                  <a:lnTo>
                    <a:pt x="312" y="26"/>
                  </a:lnTo>
                  <a:lnTo>
                    <a:pt x="328" y="34"/>
                  </a:lnTo>
                  <a:lnTo>
                    <a:pt x="340" y="45"/>
                  </a:lnTo>
                  <a:lnTo>
                    <a:pt x="354" y="57"/>
                  </a:lnTo>
                  <a:lnTo>
                    <a:pt x="364" y="69"/>
                  </a:lnTo>
                  <a:lnTo>
                    <a:pt x="374" y="81"/>
                  </a:lnTo>
                  <a:lnTo>
                    <a:pt x="388" y="107"/>
                  </a:lnTo>
                  <a:lnTo>
                    <a:pt x="400" y="133"/>
                  </a:lnTo>
                  <a:lnTo>
                    <a:pt x="406" y="157"/>
                  </a:lnTo>
                  <a:lnTo>
                    <a:pt x="304" y="157"/>
                  </a:lnTo>
                  <a:lnTo>
                    <a:pt x="304" y="157"/>
                  </a:lnTo>
                  <a:lnTo>
                    <a:pt x="300" y="149"/>
                  </a:lnTo>
                  <a:lnTo>
                    <a:pt x="296" y="137"/>
                  </a:lnTo>
                  <a:lnTo>
                    <a:pt x="288" y="127"/>
                  </a:lnTo>
                  <a:lnTo>
                    <a:pt x="278" y="117"/>
                  </a:lnTo>
                  <a:lnTo>
                    <a:pt x="266" y="107"/>
                  </a:lnTo>
                  <a:lnTo>
                    <a:pt x="250" y="99"/>
                  </a:lnTo>
                  <a:lnTo>
                    <a:pt x="232" y="95"/>
                  </a:lnTo>
                  <a:lnTo>
                    <a:pt x="212" y="93"/>
                  </a:lnTo>
                  <a:lnTo>
                    <a:pt x="212" y="93"/>
                  </a:lnTo>
                  <a:lnTo>
                    <a:pt x="190" y="95"/>
                  </a:lnTo>
                  <a:lnTo>
                    <a:pt x="168" y="101"/>
                  </a:lnTo>
                  <a:lnTo>
                    <a:pt x="150" y="113"/>
                  </a:lnTo>
                  <a:lnTo>
                    <a:pt x="134" y="127"/>
                  </a:lnTo>
                  <a:lnTo>
                    <a:pt x="120" y="145"/>
                  </a:lnTo>
                  <a:lnTo>
                    <a:pt x="110" y="165"/>
                  </a:lnTo>
                  <a:lnTo>
                    <a:pt x="104" y="189"/>
                  </a:lnTo>
                  <a:lnTo>
                    <a:pt x="102" y="215"/>
                  </a:lnTo>
                  <a:lnTo>
                    <a:pt x="102" y="215"/>
                  </a:lnTo>
                  <a:lnTo>
                    <a:pt x="104" y="241"/>
                  </a:lnTo>
                  <a:lnTo>
                    <a:pt x="110" y="265"/>
                  </a:lnTo>
                  <a:lnTo>
                    <a:pt x="120" y="285"/>
                  </a:lnTo>
                  <a:lnTo>
                    <a:pt x="134" y="303"/>
                  </a:lnTo>
                  <a:lnTo>
                    <a:pt x="150" y="317"/>
                  </a:lnTo>
                  <a:lnTo>
                    <a:pt x="168" y="327"/>
                  </a:lnTo>
                  <a:lnTo>
                    <a:pt x="190" y="335"/>
                  </a:lnTo>
                  <a:lnTo>
                    <a:pt x="212" y="337"/>
                  </a:lnTo>
                  <a:lnTo>
                    <a:pt x="212" y="337"/>
                  </a:lnTo>
                  <a:lnTo>
                    <a:pt x="232" y="335"/>
                  </a:lnTo>
                  <a:lnTo>
                    <a:pt x="250" y="329"/>
                  </a:lnTo>
                  <a:lnTo>
                    <a:pt x="266" y="323"/>
                  </a:lnTo>
                  <a:lnTo>
                    <a:pt x="278" y="313"/>
                  </a:lnTo>
                  <a:lnTo>
                    <a:pt x="288" y="301"/>
                  </a:lnTo>
                  <a:lnTo>
                    <a:pt x="296" y="291"/>
                  </a:lnTo>
                  <a:lnTo>
                    <a:pt x="300" y="279"/>
                  </a:lnTo>
                  <a:lnTo>
                    <a:pt x="304" y="267"/>
                  </a:lnTo>
                  <a:lnTo>
                    <a:pt x="406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B49F5841-787A-48C8-A4DE-F10A95C7FF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974095" y="4263716"/>
              <a:ext cx="577850" cy="681038"/>
            </a:xfrm>
            <a:custGeom>
              <a:avLst/>
              <a:gdLst>
                <a:gd name="T0" fmla="*/ 266 w 364"/>
                <a:gd name="T1" fmla="*/ 381 h 429"/>
                <a:gd name="T2" fmla="*/ 238 w 364"/>
                <a:gd name="T3" fmla="*/ 405 h 429"/>
                <a:gd name="T4" fmla="*/ 178 w 364"/>
                <a:gd name="T5" fmla="*/ 427 h 429"/>
                <a:gd name="T6" fmla="*/ 132 w 364"/>
                <a:gd name="T7" fmla="*/ 429 h 429"/>
                <a:gd name="T8" fmla="*/ 86 w 364"/>
                <a:gd name="T9" fmla="*/ 419 h 429"/>
                <a:gd name="T10" fmla="*/ 50 w 364"/>
                <a:gd name="T11" fmla="*/ 401 h 429"/>
                <a:gd name="T12" fmla="*/ 22 w 364"/>
                <a:gd name="T13" fmla="*/ 373 h 429"/>
                <a:gd name="T14" fmla="*/ 4 w 364"/>
                <a:gd name="T15" fmla="*/ 341 h 429"/>
                <a:gd name="T16" fmla="*/ 0 w 364"/>
                <a:gd name="T17" fmla="*/ 303 h 429"/>
                <a:gd name="T18" fmla="*/ 2 w 364"/>
                <a:gd name="T19" fmla="*/ 275 h 429"/>
                <a:gd name="T20" fmla="*/ 16 w 364"/>
                <a:gd name="T21" fmla="*/ 235 h 429"/>
                <a:gd name="T22" fmla="*/ 42 w 364"/>
                <a:gd name="T23" fmla="*/ 205 h 429"/>
                <a:gd name="T24" fmla="*/ 80 w 364"/>
                <a:gd name="T25" fmla="*/ 181 h 429"/>
                <a:gd name="T26" fmla="*/ 130 w 364"/>
                <a:gd name="T27" fmla="*/ 169 h 429"/>
                <a:gd name="T28" fmla="*/ 262 w 364"/>
                <a:gd name="T29" fmla="*/ 167 h 429"/>
                <a:gd name="T30" fmla="*/ 262 w 364"/>
                <a:gd name="T31" fmla="*/ 141 h 429"/>
                <a:gd name="T32" fmla="*/ 244 w 364"/>
                <a:gd name="T33" fmla="*/ 103 h 429"/>
                <a:gd name="T34" fmla="*/ 206 w 364"/>
                <a:gd name="T35" fmla="*/ 83 h 429"/>
                <a:gd name="T36" fmla="*/ 174 w 364"/>
                <a:gd name="T37" fmla="*/ 83 h 429"/>
                <a:gd name="T38" fmla="*/ 138 w 364"/>
                <a:gd name="T39" fmla="*/ 99 h 429"/>
                <a:gd name="T40" fmla="*/ 120 w 364"/>
                <a:gd name="T41" fmla="*/ 125 h 429"/>
                <a:gd name="T42" fmla="*/ 16 w 364"/>
                <a:gd name="T43" fmla="*/ 133 h 429"/>
                <a:gd name="T44" fmla="*/ 38 w 364"/>
                <a:gd name="T45" fmla="*/ 73 h 429"/>
                <a:gd name="T46" fmla="*/ 64 w 364"/>
                <a:gd name="T47" fmla="*/ 41 h 429"/>
                <a:gd name="T48" fmla="*/ 102 w 364"/>
                <a:gd name="T49" fmla="*/ 18 h 429"/>
                <a:gd name="T50" fmla="*/ 150 w 364"/>
                <a:gd name="T51" fmla="*/ 4 h 429"/>
                <a:gd name="T52" fmla="*/ 190 w 364"/>
                <a:gd name="T53" fmla="*/ 0 h 429"/>
                <a:gd name="T54" fmla="*/ 246 w 364"/>
                <a:gd name="T55" fmla="*/ 8 h 429"/>
                <a:gd name="T56" fmla="*/ 292 w 364"/>
                <a:gd name="T57" fmla="*/ 28 h 429"/>
                <a:gd name="T58" fmla="*/ 328 w 364"/>
                <a:gd name="T59" fmla="*/ 57 h 429"/>
                <a:gd name="T60" fmla="*/ 352 w 364"/>
                <a:gd name="T61" fmla="*/ 95 h 429"/>
                <a:gd name="T62" fmla="*/ 364 w 364"/>
                <a:gd name="T63" fmla="*/ 141 h 429"/>
                <a:gd name="T64" fmla="*/ 278 w 364"/>
                <a:gd name="T65" fmla="*/ 421 h 429"/>
                <a:gd name="T66" fmla="*/ 178 w 364"/>
                <a:gd name="T67" fmla="*/ 243 h 429"/>
                <a:gd name="T68" fmla="*/ 144 w 364"/>
                <a:gd name="T69" fmla="*/ 247 h 429"/>
                <a:gd name="T70" fmla="*/ 112 w 364"/>
                <a:gd name="T71" fmla="*/ 265 h 429"/>
                <a:gd name="T72" fmla="*/ 100 w 364"/>
                <a:gd name="T73" fmla="*/ 295 h 429"/>
                <a:gd name="T74" fmla="*/ 104 w 364"/>
                <a:gd name="T75" fmla="*/ 317 h 429"/>
                <a:gd name="T76" fmla="*/ 126 w 364"/>
                <a:gd name="T77" fmla="*/ 341 h 429"/>
                <a:gd name="T78" fmla="*/ 166 w 364"/>
                <a:gd name="T79" fmla="*/ 349 h 429"/>
                <a:gd name="T80" fmla="*/ 206 w 364"/>
                <a:gd name="T81" fmla="*/ 343 h 429"/>
                <a:gd name="T82" fmla="*/ 248 w 364"/>
                <a:gd name="T83" fmla="*/ 311 h 429"/>
                <a:gd name="T84" fmla="*/ 262 w 364"/>
                <a:gd name="T85" fmla="*/ 255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4" h="429">
                  <a:moveTo>
                    <a:pt x="270" y="381"/>
                  </a:moveTo>
                  <a:lnTo>
                    <a:pt x="266" y="381"/>
                  </a:lnTo>
                  <a:lnTo>
                    <a:pt x="266" y="381"/>
                  </a:lnTo>
                  <a:lnTo>
                    <a:pt x="254" y="393"/>
                  </a:lnTo>
                  <a:lnTo>
                    <a:pt x="238" y="405"/>
                  </a:lnTo>
                  <a:lnTo>
                    <a:pt x="238" y="405"/>
                  </a:lnTo>
                  <a:lnTo>
                    <a:pt x="222" y="415"/>
                  </a:lnTo>
                  <a:lnTo>
                    <a:pt x="202" y="423"/>
                  </a:lnTo>
                  <a:lnTo>
                    <a:pt x="178" y="427"/>
                  </a:lnTo>
                  <a:lnTo>
                    <a:pt x="150" y="429"/>
                  </a:lnTo>
                  <a:lnTo>
                    <a:pt x="150" y="429"/>
                  </a:lnTo>
                  <a:lnTo>
                    <a:pt x="132" y="429"/>
                  </a:lnTo>
                  <a:lnTo>
                    <a:pt x="116" y="427"/>
                  </a:lnTo>
                  <a:lnTo>
                    <a:pt x="100" y="423"/>
                  </a:lnTo>
                  <a:lnTo>
                    <a:pt x="86" y="419"/>
                  </a:lnTo>
                  <a:lnTo>
                    <a:pt x="72" y="415"/>
                  </a:lnTo>
                  <a:lnTo>
                    <a:pt x="60" y="407"/>
                  </a:lnTo>
                  <a:lnTo>
                    <a:pt x="50" y="401"/>
                  </a:lnTo>
                  <a:lnTo>
                    <a:pt x="38" y="393"/>
                  </a:lnTo>
                  <a:lnTo>
                    <a:pt x="30" y="383"/>
                  </a:lnTo>
                  <a:lnTo>
                    <a:pt x="22" y="373"/>
                  </a:lnTo>
                  <a:lnTo>
                    <a:pt x="16" y="363"/>
                  </a:lnTo>
                  <a:lnTo>
                    <a:pt x="10" y="353"/>
                  </a:lnTo>
                  <a:lnTo>
                    <a:pt x="4" y="341"/>
                  </a:lnTo>
                  <a:lnTo>
                    <a:pt x="2" y="329"/>
                  </a:lnTo>
                  <a:lnTo>
                    <a:pt x="0" y="317"/>
                  </a:lnTo>
                  <a:lnTo>
                    <a:pt x="0" y="303"/>
                  </a:lnTo>
                  <a:lnTo>
                    <a:pt x="0" y="303"/>
                  </a:lnTo>
                  <a:lnTo>
                    <a:pt x="0" y="289"/>
                  </a:lnTo>
                  <a:lnTo>
                    <a:pt x="2" y="275"/>
                  </a:lnTo>
                  <a:lnTo>
                    <a:pt x="6" y="261"/>
                  </a:lnTo>
                  <a:lnTo>
                    <a:pt x="10" y="249"/>
                  </a:lnTo>
                  <a:lnTo>
                    <a:pt x="16" y="235"/>
                  </a:lnTo>
                  <a:lnTo>
                    <a:pt x="24" y="225"/>
                  </a:lnTo>
                  <a:lnTo>
                    <a:pt x="32" y="215"/>
                  </a:lnTo>
                  <a:lnTo>
                    <a:pt x="42" y="205"/>
                  </a:lnTo>
                  <a:lnTo>
                    <a:pt x="54" y="195"/>
                  </a:lnTo>
                  <a:lnTo>
                    <a:pt x="66" y="189"/>
                  </a:lnTo>
                  <a:lnTo>
                    <a:pt x="80" y="181"/>
                  </a:lnTo>
                  <a:lnTo>
                    <a:pt x="94" y="177"/>
                  </a:lnTo>
                  <a:lnTo>
                    <a:pt x="112" y="171"/>
                  </a:lnTo>
                  <a:lnTo>
                    <a:pt x="130" y="169"/>
                  </a:lnTo>
                  <a:lnTo>
                    <a:pt x="148" y="167"/>
                  </a:lnTo>
                  <a:lnTo>
                    <a:pt x="170" y="167"/>
                  </a:lnTo>
                  <a:lnTo>
                    <a:pt x="262" y="16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41"/>
                  </a:lnTo>
                  <a:lnTo>
                    <a:pt x="258" y="127"/>
                  </a:lnTo>
                  <a:lnTo>
                    <a:pt x="252" y="113"/>
                  </a:lnTo>
                  <a:lnTo>
                    <a:pt x="244" y="103"/>
                  </a:lnTo>
                  <a:lnTo>
                    <a:pt x="232" y="93"/>
                  </a:lnTo>
                  <a:lnTo>
                    <a:pt x="220" y="87"/>
                  </a:lnTo>
                  <a:lnTo>
                    <a:pt x="206" y="83"/>
                  </a:lnTo>
                  <a:lnTo>
                    <a:pt x="190" y="81"/>
                  </a:lnTo>
                  <a:lnTo>
                    <a:pt x="190" y="81"/>
                  </a:lnTo>
                  <a:lnTo>
                    <a:pt x="174" y="83"/>
                  </a:lnTo>
                  <a:lnTo>
                    <a:pt x="160" y="85"/>
                  </a:lnTo>
                  <a:lnTo>
                    <a:pt x="148" y="91"/>
                  </a:lnTo>
                  <a:lnTo>
                    <a:pt x="138" y="99"/>
                  </a:lnTo>
                  <a:lnTo>
                    <a:pt x="130" y="107"/>
                  </a:lnTo>
                  <a:lnTo>
                    <a:pt x="124" y="115"/>
                  </a:lnTo>
                  <a:lnTo>
                    <a:pt x="120" y="125"/>
                  </a:lnTo>
                  <a:lnTo>
                    <a:pt x="1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20" y="109"/>
                  </a:lnTo>
                  <a:lnTo>
                    <a:pt x="30" y="83"/>
                  </a:lnTo>
                  <a:lnTo>
                    <a:pt x="38" y="73"/>
                  </a:lnTo>
                  <a:lnTo>
                    <a:pt x="46" y="61"/>
                  </a:lnTo>
                  <a:lnTo>
                    <a:pt x="54" y="51"/>
                  </a:lnTo>
                  <a:lnTo>
                    <a:pt x="64" y="41"/>
                  </a:lnTo>
                  <a:lnTo>
                    <a:pt x="76" y="34"/>
                  </a:lnTo>
                  <a:lnTo>
                    <a:pt x="88" y="26"/>
                  </a:lnTo>
                  <a:lnTo>
                    <a:pt x="102" y="18"/>
                  </a:lnTo>
                  <a:lnTo>
                    <a:pt x="118" y="12"/>
                  </a:lnTo>
                  <a:lnTo>
                    <a:pt x="134" y="8"/>
                  </a:lnTo>
                  <a:lnTo>
                    <a:pt x="150" y="4"/>
                  </a:lnTo>
                  <a:lnTo>
                    <a:pt x="170" y="2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210" y="2"/>
                  </a:lnTo>
                  <a:lnTo>
                    <a:pt x="228" y="4"/>
                  </a:lnTo>
                  <a:lnTo>
                    <a:pt x="246" y="8"/>
                  </a:lnTo>
                  <a:lnTo>
                    <a:pt x="262" y="14"/>
                  </a:lnTo>
                  <a:lnTo>
                    <a:pt x="276" y="20"/>
                  </a:lnTo>
                  <a:lnTo>
                    <a:pt x="292" y="28"/>
                  </a:lnTo>
                  <a:lnTo>
                    <a:pt x="304" y="36"/>
                  </a:lnTo>
                  <a:lnTo>
                    <a:pt x="316" y="45"/>
                  </a:lnTo>
                  <a:lnTo>
                    <a:pt x="328" y="57"/>
                  </a:lnTo>
                  <a:lnTo>
                    <a:pt x="336" y="69"/>
                  </a:lnTo>
                  <a:lnTo>
                    <a:pt x="344" y="83"/>
                  </a:lnTo>
                  <a:lnTo>
                    <a:pt x="352" y="95"/>
                  </a:lnTo>
                  <a:lnTo>
                    <a:pt x="358" y="111"/>
                  </a:lnTo>
                  <a:lnTo>
                    <a:pt x="360" y="125"/>
                  </a:lnTo>
                  <a:lnTo>
                    <a:pt x="364" y="141"/>
                  </a:lnTo>
                  <a:lnTo>
                    <a:pt x="364" y="157"/>
                  </a:lnTo>
                  <a:lnTo>
                    <a:pt x="364" y="421"/>
                  </a:lnTo>
                  <a:lnTo>
                    <a:pt x="278" y="421"/>
                  </a:lnTo>
                  <a:lnTo>
                    <a:pt x="270" y="381"/>
                  </a:lnTo>
                  <a:close/>
                  <a:moveTo>
                    <a:pt x="262" y="243"/>
                  </a:moveTo>
                  <a:lnTo>
                    <a:pt x="178" y="243"/>
                  </a:lnTo>
                  <a:lnTo>
                    <a:pt x="178" y="243"/>
                  </a:lnTo>
                  <a:lnTo>
                    <a:pt x="160" y="245"/>
                  </a:lnTo>
                  <a:lnTo>
                    <a:pt x="144" y="247"/>
                  </a:lnTo>
                  <a:lnTo>
                    <a:pt x="130" y="251"/>
                  </a:lnTo>
                  <a:lnTo>
                    <a:pt x="120" y="257"/>
                  </a:lnTo>
                  <a:lnTo>
                    <a:pt x="112" y="265"/>
                  </a:lnTo>
                  <a:lnTo>
                    <a:pt x="106" y="273"/>
                  </a:lnTo>
                  <a:lnTo>
                    <a:pt x="102" y="285"/>
                  </a:lnTo>
                  <a:lnTo>
                    <a:pt x="100" y="295"/>
                  </a:lnTo>
                  <a:lnTo>
                    <a:pt x="100" y="295"/>
                  </a:lnTo>
                  <a:lnTo>
                    <a:pt x="102" y="307"/>
                  </a:lnTo>
                  <a:lnTo>
                    <a:pt x="104" y="317"/>
                  </a:lnTo>
                  <a:lnTo>
                    <a:pt x="110" y="327"/>
                  </a:lnTo>
                  <a:lnTo>
                    <a:pt x="118" y="335"/>
                  </a:lnTo>
                  <a:lnTo>
                    <a:pt x="126" y="341"/>
                  </a:lnTo>
                  <a:lnTo>
                    <a:pt x="138" y="345"/>
                  </a:lnTo>
                  <a:lnTo>
                    <a:pt x="150" y="347"/>
                  </a:lnTo>
                  <a:lnTo>
                    <a:pt x="166" y="349"/>
                  </a:lnTo>
                  <a:lnTo>
                    <a:pt x="166" y="349"/>
                  </a:lnTo>
                  <a:lnTo>
                    <a:pt x="188" y="347"/>
                  </a:lnTo>
                  <a:lnTo>
                    <a:pt x="206" y="343"/>
                  </a:lnTo>
                  <a:lnTo>
                    <a:pt x="224" y="335"/>
                  </a:lnTo>
                  <a:lnTo>
                    <a:pt x="238" y="323"/>
                  </a:lnTo>
                  <a:lnTo>
                    <a:pt x="248" y="311"/>
                  </a:lnTo>
                  <a:lnTo>
                    <a:pt x="256" y="295"/>
                  </a:lnTo>
                  <a:lnTo>
                    <a:pt x="262" y="275"/>
                  </a:lnTo>
                  <a:lnTo>
                    <a:pt x="262" y="255"/>
                  </a:lnTo>
                  <a:lnTo>
                    <a:pt x="262" y="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41" name="Rectangle 19">
              <a:extLst>
                <a:ext uri="{FF2B5EF4-FFF2-40B4-BE49-F238E27FC236}">
                  <a16:creationId xmlns:a16="http://schemas.microsoft.com/office/drawing/2014/main" id="{5C91509C-E0BF-4216-9F6E-487D88E5E7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015245" y="4276416"/>
              <a:ext cx="161925" cy="655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0BB2381B-C777-4613-997A-889EB18E2B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02545" y="3993841"/>
              <a:ext cx="190500" cy="190500"/>
            </a:xfrm>
            <a:custGeom>
              <a:avLst/>
              <a:gdLst>
                <a:gd name="T0" fmla="*/ 120 w 120"/>
                <a:gd name="T1" fmla="*/ 60 h 120"/>
                <a:gd name="T2" fmla="*/ 120 w 120"/>
                <a:gd name="T3" fmla="*/ 60 h 120"/>
                <a:gd name="T4" fmla="*/ 118 w 120"/>
                <a:gd name="T5" fmla="*/ 48 h 120"/>
                <a:gd name="T6" fmla="*/ 114 w 120"/>
                <a:gd name="T7" fmla="*/ 36 h 120"/>
                <a:gd name="T8" fmla="*/ 110 w 120"/>
                <a:gd name="T9" fmla="*/ 26 h 120"/>
                <a:gd name="T10" fmla="*/ 102 w 120"/>
                <a:gd name="T11" fmla="*/ 18 h 120"/>
                <a:gd name="T12" fmla="*/ 92 w 120"/>
                <a:gd name="T13" fmla="*/ 10 h 120"/>
                <a:gd name="T14" fmla="*/ 82 w 120"/>
                <a:gd name="T15" fmla="*/ 4 h 120"/>
                <a:gd name="T16" fmla="*/ 72 w 120"/>
                <a:gd name="T17" fmla="*/ 0 h 120"/>
                <a:gd name="T18" fmla="*/ 60 w 120"/>
                <a:gd name="T19" fmla="*/ 0 h 120"/>
                <a:gd name="T20" fmla="*/ 60 w 120"/>
                <a:gd name="T21" fmla="*/ 0 h 120"/>
                <a:gd name="T22" fmla="*/ 48 w 120"/>
                <a:gd name="T23" fmla="*/ 0 h 120"/>
                <a:gd name="T24" fmla="*/ 36 w 120"/>
                <a:gd name="T25" fmla="*/ 4 h 120"/>
                <a:gd name="T26" fmla="*/ 26 w 120"/>
                <a:gd name="T27" fmla="*/ 10 h 120"/>
                <a:gd name="T28" fmla="*/ 16 w 120"/>
                <a:gd name="T29" fmla="*/ 18 h 120"/>
                <a:gd name="T30" fmla="*/ 10 w 120"/>
                <a:gd name="T31" fmla="*/ 26 h 120"/>
                <a:gd name="T32" fmla="*/ 4 w 120"/>
                <a:gd name="T33" fmla="*/ 36 h 120"/>
                <a:gd name="T34" fmla="*/ 0 w 120"/>
                <a:gd name="T35" fmla="*/ 48 h 120"/>
                <a:gd name="T36" fmla="*/ 0 w 120"/>
                <a:gd name="T37" fmla="*/ 60 h 120"/>
                <a:gd name="T38" fmla="*/ 0 w 120"/>
                <a:gd name="T39" fmla="*/ 60 h 120"/>
                <a:gd name="T40" fmla="*/ 0 w 120"/>
                <a:gd name="T41" fmla="*/ 72 h 120"/>
                <a:gd name="T42" fmla="*/ 4 w 120"/>
                <a:gd name="T43" fmla="*/ 82 h 120"/>
                <a:gd name="T44" fmla="*/ 10 w 120"/>
                <a:gd name="T45" fmla="*/ 92 h 120"/>
                <a:gd name="T46" fmla="*/ 16 w 120"/>
                <a:gd name="T47" fmla="*/ 102 h 120"/>
                <a:gd name="T48" fmla="*/ 26 w 120"/>
                <a:gd name="T49" fmla="*/ 110 h 120"/>
                <a:gd name="T50" fmla="*/ 36 w 120"/>
                <a:gd name="T51" fmla="*/ 114 h 120"/>
                <a:gd name="T52" fmla="*/ 48 w 120"/>
                <a:gd name="T53" fmla="*/ 118 h 120"/>
                <a:gd name="T54" fmla="*/ 60 w 120"/>
                <a:gd name="T55" fmla="*/ 120 h 120"/>
                <a:gd name="T56" fmla="*/ 60 w 120"/>
                <a:gd name="T57" fmla="*/ 120 h 120"/>
                <a:gd name="T58" fmla="*/ 72 w 120"/>
                <a:gd name="T59" fmla="*/ 118 h 120"/>
                <a:gd name="T60" fmla="*/ 82 w 120"/>
                <a:gd name="T61" fmla="*/ 114 h 120"/>
                <a:gd name="T62" fmla="*/ 92 w 120"/>
                <a:gd name="T63" fmla="*/ 110 h 120"/>
                <a:gd name="T64" fmla="*/ 102 w 120"/>
                <a:gd name="T65" fmla="*/ 102 h 120"/>
                <a:gd name="T66" fmla="*/ 110 w 120"/>
                <a:gd name="T67" fmla="*/ 92 h 120"/>
                <a:gd name="T68" fmla="*/ 114 w 120"/>
                <a:gd name="T69" fmla="*/ 82 h 120"/>
                <a:gd name="T70" fmla="*/ 118 w 120"/>
                <a:gd name="T71" fmla="*/ 72 h 120"/>
                <a:gd name="T72" fmla="*/ 120 w 120"/>
                <a:gd name="T73" fmla="*/ 60 h 120"/>
                <a:gd name="T74" fmla="*/ 120 w 120"/>
                <a:gd name="T75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" h="120">
                  <a:moveTo>
                    <a:pt x="120" y="60"/>
                  </a:moveTo>
                  <a:lnTo>
                    <a:pt x="120" y="60"/>
                  </a:lnTo>
                  <a:lnTo>
                    <a:pt x="118" y="48"/>
                  </a:lnTo>
                  <a:lnTo>
                    <a:pt x="114" y="36"/>
                  </a:lnTo>
                  <a:lnTo>
                    <a:pt x="110" y="26"/>
                  </a:lnTo>
                  <a:lnTo>
                    <a:pt x="102" y="18"/>
                  </a:lnTo>
                  <a:lnTo>
                    <a:pt x="92" y="10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36" y="4"/>
                  </a:lnTo>
                  <a:lnTo>
                    <a:pt x="26" y="10"/>
                  </a:lnTo>
                  <a:lnTo>
                    <a:pt x="16" y="18"/>
                  </a:lnTo>
                  <a:lnTo>
                    <a:pt x="10" y="26"/>
                  </a:lnTo>
                  <a:lnTo>
                    <a:pt x="4" y="36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4" y="82"/>
                  </a:lnTo>
                  <a:lnTo>
                    <a:pt x="10" y="92"/>
                  </a:lnTo>
                  <a:lnTo>
                    <a:pt x="16" y="102"/>
                  </a:lnTo>
                  <a:lnTo>
                    <a:pt x="26" y="110"/>
                  </a:lnTo>
                  <a:lnTo>
                    <a:pt x="36" y="114"/>
                  </a:lnTo>
                  <a:lnTo>
                    <a:pt x="48" y="118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72" y="118"/>
                  </a:lnTo>
                  <a:lnTo>
                    <a:pt x="82" y="114"/>
                  </a:lnTo>
                  <a:lnTo>
                    <a:pt x="92" y="110"/>
                  </a:lnTo>
                  <a:lnTo>
                    <a:pt x="102" y="102"/>
                  </a:lnTo>
                  <a:lnTo>
                    <a:pt x="110" y="92"/>
                  </a:lnTo>
                  <a:lnTo>
                    <a:pt x="114" y="82"/>
                  </a:lnTo>
                  <a:lnTo>
                    <a:pt x="118" y="72"/>
                  </a:lnTo>
                  <a:lnTo>
                    <a:pt x="120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6FC42B25-6D5C-4400-9B82-C0D2AA322F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94458" y="4000191"/>
              <a:ext cx="288925" cy="187325"/>
            </a:xfrm>
            <a:custGeom>
              <a:avLst/>
              <a:gdLst>
                <a:gd name="T0" fmla="*/ 76 w 182"/>
                <a:gd name="T1" fmla="*/ 0 h 118"/>
                <a:gd name="T2" fmla="*/ 182 w 182"/>
                <a:gd name="T3" fmla="*/ 0 h 118"/>
                <a:gd name="T4" fmla="*/ 84 w 182"/>
                <a:gd name="T5" fmla="*/ 118 h 118"/>
                <a:gd name="T6" fmla="*/ 0 w 182"/>
                <a:gd name="T7" fmla="*/ 118 h 118"/>
                <a:gd name="T8" fmla="*/ 76 w 1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18">
                  <a:moveTo>
                    <a:pt x="76" y="0"/>
                  </a:moveTo>
                  <a:lnTo>
                    <a:pt x="182" y="0"/>
                  </a:lnTo>
                  <a:lnTo>
                    <a:pt x="84" y="118"/>
                  </a:lnTo>
                  <a:lnTo>
                    <a:pt x="0" y="118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5pPr>
              <a:lvl6pPr marL="22860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6pPr>
              <a:lvl7pPr marL="27432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7pPr>
              <a:lvl8pPr marL="32004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8pPr>
              <a:lvl9pPr marL="3657600" algn="l" defTabSz="914400" rtl="0" eaLnBrk="1" latinLnBrk="0" hangingPunct="1">
                <a:defRPr sz="2800" u="sng" kern="1200">
                  <a:solidFill>
                    <a:srgbClr val="000000"/>
                  </a:solidFill>
                  <a:latin typeface="Arial" pitchFamily="34" charset="0"/>
                  <a:ea typeface="ヒラギノ角ゴ ProN W3" charset="-128"/>
                  <a:cs typeface="+mn-cs"/>
                  <a:sym typeface="Gill Sans" charset="0"/>
                </a:defRPr>
              </a:lvl9pPr>
            </a:lstStyle>
            <a:p>
              <a:endParaRPr lang="es-ES" sz="3733"/>
            </a:p>
          </p:txBody>
        </p:sp>
      </p:grpSp>
    </p:spTree>
    <p:extLst>
      <p:ext uri="{BB962C8B-B14F-4D97-AF65-F5344CB8AC3E}">
        <p14:creationId xmlns:p14="http://schemas.microsoft.com/office/powerpoint/2010/main" val="19610291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posición de imagen 4">
            <a:extLst>
              <a:ext uri="{FF2B5EF4-FFF2-40B4-BE49-F238E27FC236}">
                <a16:creationId xmlns:a16="http://schemas.microsoft.com/office/drawing/2014/main" id="{EF25DCB9-BC6E-4CB5-8087-FAA7B6BB05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6" b="216"/>
          <a:stretch>
            <a:fillRect/>
          </a:stretch>
        </p:blipFill>
        <p:spPr>
          <a:xfrm>
            <a:off x="5347252" y="2680252"/>
            <a:ext cx="1497496" cy="1497497"/>
          </a:xfrm>
          <a:prstGeom prst="rect">
            <a:avLst/>
          </a:prstGeom>
        </p:spPr>
      </p:pic>
      <p:pic>
        <p:nvPicPr>
          <p:cNvPr id="5" name="Marcador de posición de imagen 6">
            <a:extLst>
              <a:ext uri="{FF2B5EF4-FFF2-40B4-BE49-F238E27FC236}">
                <a16:creationId xmlns:a16="http://schemas.microsoft.com/office/drawing/2014/main" id="{C3530E1E-8A7E-4917-9FAE-5B8480B565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3353" b="23353"/>
          <a:stretch>
            <a:fillRect/>
          </a:stretch>
        </p:blipFill>
        <p:spPr>
          <a:xfrm>
            <a:off x="4856922" y="5747072"/>
            <a:ext cx="2478159" cy="825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4554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0BD2140D-A28F-4C7D-A75F-A2ACDD10F1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23F0C-70C4-4348-8258-3BE5FE000BEA}" type="datetimeFigureOut">
              <a:rPr lang="es-ES" smtClean="0"/>
              <a:t>20/07/2022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8811C6A-3D05-01F1-F576-30E608E72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99E38A8-956C-E78B-ABBD-F4E1D768B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A2870-6154-47A2-A866-401D9A103F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48380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o_Azul_Logo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00DCAC73-46A0-4F44-878E-B326B1156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16500" y="2349500"/>
            <a:ext cx="2158999" cy="2159000"/>
          </a:xfrm>
        </p:spPr>
        <p:txBody>
          <a:bodyPr/>
          <a:lstStyle/>
          <a:p>
            <a:endParaRPr lang="es-ES"/>
          </a:p>
        </p:txBody>
      </p:sp>
      <p:sp>
        <p:nvSpPr>
          <p:cNvPr id="9" name="Marcador de posición de imagen 6">
            <a:extLst>
              <a:ext uri="{FF2B5EF4-FFF2-40B4-BE49-F238E27FC236}">
                <a16:creationId xmlns:a16="http://schemas.microsoft.com/office/drawing/2014/main" id="{80A30C94-9398-024F-8F1F-0723B72502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16500" y="5949950"/>
            <a:ext cx="2159000" cy="719138"/>
          </a:xfrm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58781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o_Azul_Logo_Blanc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3CA3374-20FF-4B9B-9F4F-2E1FCD3A16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804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3CA3374-20FF-4B9B-9F4F-2E1FCD3A16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1">
            <a:extLst>
              <a:ext uri="{FF2B5EF4-FFF2-40B4-BE49-F238E27FC236}">
                <a16:creationId xmlns:a16="http://schemas.microsoft.com/office/drawing/2014/main" id="{E3460972-5B7A-EE4F-AACD-C4DB498A372B}"/>
              </a:ext>
            </a:extLst>
          </p:cNvPr>
          <p:cNvSpPr txBox="1"/>
          <p:nvPr userDrawn="1"/>
        </p:nvSpPr>
        <p:spPr bwMode="auto">
          <a:xfrm>
            <a:off x="3159224" y="1700808"/>
            <a:ext cx="2517958" cy="246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 rtl="0">
              <a:buFont typeface="Arial" panose="020B0604020202020204" pitchFamily="34" charset="0"/>
              <a:buNone/>
            </a:pPr>
            <a:r>
              <a:rPr lang="en-GB" sz="1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 INTERNO:</a:t>
            </a:r>
            <a:b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ct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ción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e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ejamos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eados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 de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be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tenerse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mbit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resa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lvo que se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ta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eedores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partners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omis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cialidad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b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00" b="0" i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35EBD96E-5F00-5545-BFD7-7EC773D4B74E}"/>
              </a:ext>
            </a:extLst>
          </p:cNvPr>
          <p:cNvSpPr txBox="1"/>
          <p:nvPr userDrawn="1"/>
        </p:nvSpPr>
        <p:spPr bwMode="auto">
          <a:xfrm>
            <a:off x="5889823" y="1700809"/>
            <a:ext cx="2489510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 rtl="0">
              <a:buFont typeface="Arial" panose="020B0604020202020204" pitchFamily="34" charset="0"/>
              <a:buNone/>
            </a:pPr>
            <a:r>
              <a:rPr lang="en-GB" sz="1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 INTERNO RESTRINGIDO:</a:t>
            </a:r>
            <a:b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ción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nsible que NO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ede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ible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r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resa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ól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r un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ament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ret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un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los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embros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un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yect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6" name="TextBox 12">
            <a:extLst>
              <a:ext uri="{FF2B5EF4-FFF2-40B4-BE49-F238E27FC236}">
                <a16:creationId xmlns:a16="http://schemas.microsoft.com/office/drawing/2014/main" id="{B9287478-FEE7-7A40-8700-A9157F0B3156}"/>
              </a:ext>
            </a:extLst>
          </p:cNvPr>
          <p:cNvSpPr txBox="1"/>
          <p:nvPr userDrawn="1"/>
        </p:nvSpPr>
        <p:spPr bwMode="auto">
          <a:xfrm>
            <a:off x="8591974" y="1722716"/>
            <a:ext cx="2472578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 rtl="0">
              <a:buFontTx/>
              <a:buNone/>
            </a:pPr>
            <a:r>
              <a:rPr lang="en-GB" sz="1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 INTERNO RESERVADO:</a:t>
            </a:r>
            <a:br>
              <a:rPr lang="en-GB" sz="1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ción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y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nsible (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ategia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s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eros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ortunidades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gocio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) que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nicamente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ible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r personas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adas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inalmente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8" name="TextBox 15">
            <a:extLst>
              <a:ext uri="{FF2B5EF4-FFF2-40B4-BE49-F238E27FC236}">
                <a16:creationId xmlns:a16="http://schemas.microsoft.com/office/drawing/2014/main" id="{9B0C01CB-C20D-1B44-A48D-16393FA76DA6}"/>
              </a:ext>
            </a:extLst>
          </p:cNvPr>
          <p:cNvSpPr txBox="1"/>
          <p:nvPr userDrawn="1"/>
        </p:nvSpPr>
        <p:spPr bwMode="auto">
          <a:xfrm>
            <a:off x="428625" y="5468142"/>
            <a:ext cx="804363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 rtl="0">
              <a:buFont typeface="Arial" panose="020B0604020202020204" pitchFamily="34" charset="0"/>
              <a:buNone/>
            </a:pP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vor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lene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e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e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acio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rvado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ntro de la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ción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e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o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uridad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bicado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e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perior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echa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positiva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lvl="0" indent="0" rtl="0">
              <a:buFont typeface="Arial" panose="020B0604020202020204" pitchFamily="34" charset="0"/>
              <a:buNone/>
            </a:pP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0" indent="0" rtl="0">
              <a:buFont typeface="Arial" panose="020B0604020202020204" pitchFamily="34" charset="0"/>
              <a:buNone/>
            </a:pPr>
            <a:r>
              <a:rPr lang="en-GB" sz="1000" b="1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s</a:t>
            </a:r>
            <a:r>
              <a:rPr lang="en-GB" sz="1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s </a:t>
            </a:r>
            <a:r>
              <a:rPr lang="en-GB" sz="1000" b="1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positivas</a:t>
            </a:r>
            <a:r>
              <a:rPr lang="en-GB" sz="1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berán</a:t>
            </a:r>
            <a:r>
              <a:rPr lang="en-GB" sz="1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000" b="1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</a:t>
            </a:r>
            <a:r>
              <a:rPr lang="en-GB" sz="1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ificadas</a:t>
            </a:r>
            <a:r>
              <a:rPr lang="en-GB" sz="1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ida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ada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0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ndices</a:t>
            </a:r>
            <a:r>
              <a:rPr lang="en-GB"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tc.</a:t>
            </a:r>
          </a:p>
        </p:txBody>
      </p:sp>
      <p:grpSp>
        <p:nvGrpSpPr>
          <p:cNvPr id="10" name="Group 24">
            <a:extLst>
              <a:ext uri="{FF2B5EF4-FFF2-40B4-BE49-F238E27FC236}">
                <a16:creationId xmlns:a16="http://schemas.microsoft.com/office/drawing/2014/main" id="{8D6822BA-61A2-8842-A852-39FD1A195B4E}"/>
              </a:ext>
            </a:extLst>
          </p:cNvPr>
          <p:cNvGrpSpPr/>
          <p:nvPr userDrawn="1"/>
        </p:nvGrpSpPr>
        <p:grpSpPr>
          <a:xfrm>
            <a:off x="10814858" y="397424"/>
            <a:ext cx="1133302" cy="5479847"/>
            <a:chOff x="10814858" y="250209"/>
            <a:chExt cx="1133302" cy="4086661"/>
          </a:xfrm>
        </p:grpSpPr>
        <p:cxnSp>
          <p:nvCxnSpPr>
            <p:cNvPr id="11" name="Straight Connector 5">
              <a:extLst>
                <a:ext uri="{FF2B5EF4-FFF2-40B4-BE49-F238E27FC236}">
                  <a16:creationId xmlns:a16="http://schemas.microsoft.com/office/drawing/2014/main" id="{9C846DE3-131B-C841-9F40-F7972C2BD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14858" y="4336869"/>
              <a:ext cx="1133302" cy="0"/>
            </a:xfrm>
            <a:prstGeom prst="line">
              <a:avLst/>
            </a:prstGeom>
            <a:ln w="9525"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8">
              <a:extLst>
                <a:ext uri="{FF2B5EF4-FFF2-40B4-BE49-F238E27FC236}">
                  <a16:creationId xmlns:a16="http://schemas.microsoft.com/office/drawing/2014/main" id="{E8BE2165-60F4-D140-A624-9D8D4611A92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48160" y="250209"/>
              <a:ext cx="0" cy="4086661"/>
            </a:xfrm>
            <a:prstGeom prst="line">
              <a:avLst/>
            </a:prstGeom>
            <a:ln w="9525"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22">
              <a:extLst>
                <a:ext uri="{FF2B5EF4-FFF2-40B4-BE49-F238E27FC236}">
                  <a16:creationId xmlns:a16="http://schemas.microsoft.com/office/drawing/2014/main" id="{39BF3E03-8D26-EE47-A705-C120F1802A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57038" y="250209"/>
              <a:ext cx="91122" cy="0"/>
            </a:xfrm>
            <a:prstGeom prst="line">
              <a:avLst/>
            </a:prstGeom>
            <a:ln w="9525"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">
            <a:extLst>
              <a:ext uri="{FF2B5EF4-FFF2-40B4-BE49-F238E27FC236}">
                <a16:creationId xmlns:a16="http://schemas.microsoft.com/office/drawing/2014/main" id="{536B6B95-80E3-B848-B7F9-FB60E7AA64A3}"/>
              </a:ext>
            </a:extLst>
          </p:cNvPr>
          <p:cNvSpPr txBox="1"/>
          <p:nvPr userDrawn="1"/>
        </p:nvSpPr>
        <p:spPr bwMode="auto">
          <a:xfrm>
            <a:off x="428625" y="1700808"/>
            <a:ext cx="251795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 rtl="0">
              <a:buFont typeface="Arial" panose="020B0604020202020204" pitchFamily="34" charset="0"/>
              <a:buNone/>
            </a:pPr>
            <a:r>
              <a:rPr lang="en-GB" sz="1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 PÚBLICO:</a:t>
            </a:r>
            <a:b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ción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ya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ulgación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ecte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la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resa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rminos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400" b="0" i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érdida</a:t>
            </a:r>
            <a:r>
              <a:rPr lang="en-GB"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imagen.</a:t>
            </a:r>
          </a:p>
          <a:p>
            <a:pPr marL="0" lvl="0" indent="0" rtl="0">
              <a:buFont typeface="Arial" panose="020B0604020202020204" pitchFamily="34" charset="0"/>
              <a:buNone/>
            </a:pPr>
            <a:endParaRPr lang="en-GB" sz="1400" b="0" i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">
            <a:extLst>
              <a:ext uri="{FF2B5EF4-FFF2-40B4-BE49-F238E27FC236}">
                <a16:creationId xmlns:a16="http://schemas.microsoft.com/office/drawing/2014/main" id="{3CB85DA9-ABBC-844A-A2C9-4755E30191DD}"/>
              </a:ext>
            </a:extLst>
          </p:cNvPr>
          <p:cNvSpPr txBox="1"/>
          <p:nvPr userDrawn="1"/>
        </p:nvSpPr>
        <p:spPr bwMode="auto">
          <a:xfrm>
            <a:off x="428625" y="332656"/>
            <a:ext cx="163492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GB" sz="3200" b="1" i="0" kern="1200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AVISO</a:t>
            </a:r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EACF503D-7FDC-A741-BD22-5539A14D3796}"/>
              </a:ext>
            </a:extLst>
          </p:cNvPr>
          <p:cNvSpPr txBox="1"/>
          <p:nvPr userDrawn="1"/>
        </p:nvSpPr>
        <p:spPr bwMode="auto">
          <a:xfrm>
            <a:off x="428625" y="977286"/>
            <a:ext cx="948379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 anchor="ctr">
            <a:spAutoFit/>
          </a:bodyPr>
          <a:lstStyle/>
          <a:p>
            <a:pPr marL="0" lv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GB" altLang="es-ES"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r </a:t>
            </a:r>
            <a:r>
              <a:rPr lang="en-GB" altLang="es-ES" sz="1000" b="0" i="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zones</a:t>
            </a:r>
            <a:r>
              <a:rPr lang="en-GB" altLang="es-ES"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lang="en-GB" altLang="es-ES" sz="1000" b="0" i="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guridad</a:t>
            </a:r>
            <a:r>
              <a:rPr lang="en-GB" altLang="es-ES"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y </a:t>
            </a:r>
            <a:r>
              <a:rPr lang="en-GB" altLang="es-ES" sz="1000" b="0" i="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tección</a:t>
            </a:r>
            <a:r>
              <a:rPr lang="en-GB" altLang="es-ES"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lang="en-GB" altLang="es-ES" sz="1000" b="0" i="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estra</a:t>
            </a:r>
            <a:r>
              <a:rPr lang="en-GB" altLang="es-ES"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GB" altLang="es-ES" sz="1000" b="0" i="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ción</a:t>
            </a:r>
            <a:r>
              <a:rPr lang="en-GB" altLang="es-ES"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GB" altLang="es-ES" sz="1000" b="0" i="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porativa</a:t>
            </a:r>
            <a:r>
              <a:rPr lang="en-GB" altLang="es-ES"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s OBLIGATORIO </a:t>
            </a:r>
            <a:r>
              <a:rPr lang="en-GB" altLang="es-ES" sz="1000" b="0" i="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asificar</a:t>
            </a:r>
            <a:r>
              <a:rPr lang="en-GB" altLang="es-ES"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los </a:t>
            </a:r>
            <a:r>
              <a:rPr lang="en-GB" altLang="es-ES" sz="1000" b="0" i="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cumentos</a:t>
            </a:r>
            <a:r>
              <a:rPr lang="en-GB" altLang="es-ES"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GB" altLang="es-ES" sz="1000" b="0" i="0" kern="120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</a:t>
            </a:r>
            <a:r>
              <a:rPr lang="en-GB" altLang="es-ES"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  <a:endParaRPr lang="en-GB" sz="1000" b="0" i="0" kern="120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id="{D2CF8868-411F-1345-AB2B-2E5F8FD4692E}"/>
              </a:ext>
            </a:extLst>
          </p:cNvPr>
          <p:cNvSpPr/>
          <p:nvPr userDrawn="1"/>
        </p:nvSpPr>
        <p:spPr>
          <a:xfrm>
            <a:off x="428625" y="5239924"/>
            <a:ext cx="10327892" cy="1213412"/>
          </a:xfrm>
          <a:prstGeom prst="rect">
            <a:avLst/>
          </a:prstGeom>
          <a:ln w="9525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GB" b="0" i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8B3174F0-4A74-0342-BBCC-36A9C42638F9}"/>
              </a:ext>
            </a:extLst>
          </p:cNvPr>
          <p:cNvSpPr/>
          <p:nvPr userDrawn="1"/>
        </p:nvSpPr>
        <p:spPr>
          <a:xfrm>
            <a:off x="9550119" y="195234"/>
            <a:ext cx="2306919" cy="450421"/>
          </a:xfrm>
          <a:prstGeom prst="rect">
            <a:avLst/>
          </a:prstGeom>
          <a:ln w="9525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GB" b="0" i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id="{6BCDE6BE-24AF-6441-BCB6-4FE1510A75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/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381314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2F91189-A08B-4F52-8B47-3F59B2514A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23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2F91189-A08B-4F52-8B47-3F59B2514A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11268590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</a:p>
          <a:p>
            <a:pPr lvl="0"/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11268591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67F06FF-74A9-2E4A-9F48-78DDA1A238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3296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1DDC1D-9B7A-48BA-8614-1B4C558F12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860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C1DDC1D-9B7A-48BA-8614-1B4C558F12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5334298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11262706" cy="1273612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	• Insert text here</a:t>
            </a:r>
            <a:br>
              <a:rPr lang="en-GB"/>
            </a:br>
            <a:r>
              <a:rPr lang="en-GB"/>
              <a:t>     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0" y="366676"/>
            <a:ext cx="11259303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>
                <a:latin typeface="+mn-lt"/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19B682D-98C8-6142-85E9-8149CBD195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845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_Column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68C1FA-95AD-42BA-908C-E060ABEF97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3767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68C1FA-95AD-42BA-908C-E060ABEF9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654" y="609644"/>
            <a:ext cx="11257119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5541" y="1740662"/>
            <a:ext cx="5320097" cy="1391925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dui, gravida ac </a:t>
            </a:r>
            <a:r>
              <a:rPr lang="en-GB" err="1"/>
              <a:t>ornare</a:t>
            </a:r>
            <a:r>
              <a:rPr lang="en-GB"/>
              <a:t> ac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943" y="366676"/>
            <a:ext cx="11257120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BD8A9A29-247E-EA46-8CD4-1758841A8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541" y="3176718"/>
            <a:ext cx="5320097" cy="36382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5271E3B7-3FD3-8440-9710-E3439F3EE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5541" y="3540538"/>
            <a:ext cx="5320098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21" name="Marcador de texto 14">
            <a:extLst>
              <a:ext uri="{FF2B5EF4-FFF2-40B4-BE49-F238E27FC236}">
                <a16:creationId xmlns:a16="http://schemas.microsoft.com/office/drawing/2014/main" id="{01CE7070-5CE0-8D45-A606-20C768D30A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0977" y="1740662"/>
            <a:ext cx="5320097" cy="1391925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dui, gravida ac </a:t>
            </a:r>
            <a:r>
              <a:rPr lang="en-GB" err="1"/>
              <a:t>ornare</a:t>
            </a:r>
            <a:r>
              <a:rPr lang="en-GB"/>
              <a:t> ac.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404E435A-E585-1841-9763-026093A593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0977" y="3176718"/>
            <a:ext cx="5320097" cy="36382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23" name="Marcador de texto 14">
            <a:extLst>
              <a:ext uri="{FF2B5EF4-FFF2-40B4-BE49-F238E27FC236}">
                <a16:creationId xmlns:a16="http://schemas.microsoft.com/office/drawing/2014/main" id="{5AB8C3F2-42FD-F745-A334-79067A11A4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50977" y="3540538"/>
            <a:ext cx="5320098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pic>
        <p:nvPicPr>
          <p:cNvPr id="25" name="Gráfico 24">
            <a:extLst>
              <a:ext uri="{FF2B5EF4-FFF2-40B4-BE49-F238E27FC236}">
                <a16:creationId xmlns:a16="http://schemas.microsoft.com/office/drawing/2014/main" id="{13C623E7-0B4E-7B4B-9050-79C0DA76EC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D4AE0868-A0F4-264A-9EA9-07A81DB503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9247642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o_Enfasis_Fondo_Bl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8D4605-FB71-4CE1-9776-FD9249143F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0216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8D4605-FB71-4CE1-9776-FD9249143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 vert="horz"/>
          <a:lstStyle>
            <a:lvl1pPr rtl="0">
              <a:defRPr sz="5000"/>
            </a:lvl1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 rtl="0">
              <a:defRPr sz="50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9A1EC2-E296-1C49-B7C5-AFC158D0F2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15203862-1283-E34D-BE23-248C9F6C36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3681844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untos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7C15D3-09E8-483C-824F-3785A3E7E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4709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07C15D3-09E8-483C-824F-3785A3E7E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996" y="1490182"/>
            <a:ext cx="6613037" cy="1325563"/>
          </a:xfrm>
          <a:noFill/>
        </p:spPr>
        <p:txBody>
          <a:bodyPr vert="horz"/>
          <a:lstStyle>
            <a:lvl1pPr rtl="0">
              <a:defRPr/>
            </a:lvl1pPr>
          </a:lstStyle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0264" y="3113378"/>
            <a:ext cx="6613037" cy="1087437"/>
          </a:xfrm>
        </p:spPr>
        <p:txBody>
          <a:bodyPr/>
          <a:lstStyle>
            <a:lvl1pPr rtl="0">
              <a:defRPr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A0C2C86A-E25F-F94C-9B10-DA32F24E3B9F}"/>
              </a:ext>
            </a:extLst>
          </p:cNvPr>
          <p:cNvSpPr/>
          <p:nvPr userDrawn="1"/>
        </p:nvSpPr>
        <p:spPr>
          <a:xfrm>
            <a:off x="7723632" y="1921315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F5B29F80-9491-2344-915D-11D96128C8D5}"/>
              </a:ext>
            </a:extLst>
          </p:cNvPr>
          <p:cNvSpPr/>
          <p:nvPr userDrawn="1"/>
        </p:nvSpPr>
        <p:spPr>
          <a:xfrm>
            <a:off x="8973312" y="1451923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CDF087C4-BCE5-CF4D-9264-8BF23D238C86}"/>
              </a:ext>
            </a:extLst>
          </p:cNvPr>
          <p:cNvSpPr/>
          <p:nvPr userDrawn="1"/>
        </p:nvSpPr>
        <p:spPr>
          <a:xfrm>
            <a:off x="10168128" y="1994467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83D5DDB1-3969-7842-816C-0E9028EEE0BD}"/>
              </a:ext>
            </a:extLst>
          </p:cNvPr>
          <p:cNvSpPr/>
          <p:nvPr userDrawn="1"/>
        </p:nvSpPr>
        <p:spPr>
          <a:xfrm>
            <a:off x="9241536" y="2476051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GB"/>
              <a:t> </a:t>
            </a:r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67B38733-C7CE-CC40-A346-42CB9FDC07EC}"/>
              </a:ext>
            </a:extLst>
          </p:cNvPr>
          <p:cNvSpPr/>
          <p:nvPr userDrawn="1"/>
        </p:nvSpPr>
        <p:spPr>
          <a:xfrm>
            <a:off x="8241792" y="2847907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8BFA97A2-60F7-D140-96EB-06C955249400}"/>
              </a:ext>
            </a:extLst>
          </p:cNvPr>
          <p:cNvSpPr/>
          <p:nvPr userDrawn="1"/>
        </p:nvSpPr>
        <p:spPr>
          <a:xfrm>
            <a:off x="7193280" y="3140515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DEC6ABBC-FB28-CA45-9260-33DBDD5A8E66}"/>
              </a:ext>
            </a:extLst>
          </p:cNvPr>
          <p:cNvSpPr/>
          <p:nvPr userDrawn="1"/>
        </p:nvSpPr>
        <p:spPr>
          <a:xfrm>
            <a:off x="7668768" y="4371907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5B103E51-E0A9-9441-9112-9DA26F729EF9}"/>
              </a:ext>
            </a:extLst>
          </p:cNvPr>
          <p:cNvSpPr/>
          <p:nvPr userDrawn="1"/>
        </p:nvSpPr>
        <p:spPr>
          <a:xfrm>
            <a:off x="8589264" y="3786691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EC7C4346-C80A-C541-BA30-B4E1DA70FB78}"/>
              </a:ext>
            </a:extLst>
          </p:cNvPr>
          <p:cNvSpPr/>
          <p:nvPr userDrawn="1"/>
        </p:nvSpPr>
        <p:spPr>
          <a:xfrm>
            <a:off x="9582912" y="3420931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C4AA2D7D-96BC-834F-982E-1D3BD6940C2E}"/>
              </a:ext>
            </a:extLst>
          </p:cNvPr>
          <p:cNvSpPr/>
          <p:nvPr userDrawn="1"/>
        </p:nvSpPr>
        <p:spPr>
          <a:xfrm>
            <a:off x="10643616" y="3219763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40EC2DE0-33FD-D14C-BA7A-66CBC390B67A}"/>
              </a:ext>
            </a:extLst>
          </p:cNvPr>
          <p:cNvSpPr/>
          <p:nvPr userDrawn="1"/>
        </p:nvSpPr>
        <p:spPr>
          <a:xfrm>
            <a:off x="10113264" y="4426771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1D4C3106-9AF6-DD43-9204-40AA090B6033}"/>
              </a:ext>
            </a:extLst>
          </p:cNvPr>
          <p:cNvSpPr/>
          <p:nvPr userDrawn="1"/>
        </p:nvSpPr>
        <p:spPr>
          <a:xfrm>
            <a:off x="8875776" y="4896163"/>
            <a:ext cx="475488" cy="4754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17" name="Marcador de texto 2">
            <a:extLst>
              <a:ext uri="{FF2B5EF4-FFF2-40B4-BE49-F238E27FC236}">
                <a16:creationId xmlns:a16="http://schemas.microsoft.com/office/drawing/2014/main" id="{2A35A1B3-7558-F84E-84A3-56C71DF152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252676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3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</p:bld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o_Enfasis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1F9AF07-E65F-4498-AFFF-873BDCB74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8059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1F9AF07-E65F-4498-AFFF-873BDCB74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 vert="horz"/>
          <a:lstStyle>
            <a:lvl1pPr rtl="0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 rtl="0">
              <a:defRPr sz="5000" b="1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CD7EA10-D8A9-F847-AA68-9AEC57ED86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E485CB09-844D-904F-85A5-BB2AFEDB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200441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5687E19-E71E-4487-9A91-882EFE476D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874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5687E19-E71E-4487-9A91-882EFE476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D505DD84-3AB6-8846-A315-20A1D68590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6193494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92F992C-416A-45DE-8C2E-17766B6A3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842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92F992C-416A-45DE-8C2E-17766B6A3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B70B12B-8EC8-A743-A48B-40F9957BD415}"/>
              </a:ext>
            </a:extLst>
          </p:cNvPr>
          <p:cNvSpPr/>
          <p:nvPr userDrawn="1"/>
        </p:nvSpPr>
        <p:spPr>
          <a:xfrm>
            <a:off x="5375275" y="549275"/>
            <a:ext cx="5764188" cy="57641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7"/>
            <a:ext cx="5746065" cy="576418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A1802407-72B2-964E-B4A9-6250E65E73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0529118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xt_Imagen_Redonda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D671D26-56B0-40E3-8CA3-018957E33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372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D671D26-56B0-40E3-8CA3-018957E33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7" y="2461480"/>
            <a:ext cx="4595521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6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D44B2B31-AADE-2D40-A3C9-1A8A61B1489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770CF6B8-8544-A549-84E5-D504D346D2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8598995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o_Con_Imagen_Cuadra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CA1D93-E337-4F61-A0EC-6411C1413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113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CA1D93-E337-4F61-A0EC-6411C1413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3704934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3704934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24A2D91-FE07-DD4B-8E90-1BD3F7A378A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95775" y="549275"/>
            <a:ext cx="7379970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F3BB164-BE43-B241-9BF7-49B8651FC68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97F4A28-618B-D442-A382-B99307487F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279669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o_Con_Imagenes_Cuadrad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70A3A0-2559-4FC8-8CD3-EEFCBACB34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42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70A3A0-2559-4FC8-8CD3-EEFCBACB34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11251681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1125168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E166127-948E-434C-90AC-DEE04C3D91A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15938" y="1628776"/>
            <a:ext cx="5508626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/>
              <a:t>Imagen </a:t>
            </a:r>
          </a:p>
        </p:txBody>
      </p:sp>
      <p:sp>
        <p:nvSpPr>
          <p:cNvPr id="19" name="Marcador de posición de imagen 9">
            <a:extLst>
              <a:ext uri="{FF2B5EF4-FFF2-40B4-BE49-F238E27FC236}">
                <a16:creationId xmlns:a16="http://schemas.microsoft.com/office/drawing/2014/main" id="{FD434FA2-08C3-B04D-956F-2D1EAED7F4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7438" y="1628775"/>
            <a:ext cx="5510442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/>
              <a:t>Imagen </a:t>
            </a:r>
          </a:p>
        </p:txBody>
      </p:sp>
      <p:pic>
        <p:nvPicPr>
          <p:cNvPr id="20" name="Gráfico 19">
            <a:extLst>
              <a:ext uri="{FF2B5EF4-FFF2-40B4-BE49-F238E27FC236}">
                <a16:creationId xmlns:a16="http://schemas.microsoft.com/office/drawing/2014/main" id="{138381B1-B5F7-6D41-8F03-FA5AF16419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F526D8D0-1560-7947-8798-DAB6816951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91200854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8900CB-E0AC-4A43-9380-38B8197E10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327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8900CB-E0AC-4A43-9380-38B8197E1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3887112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49" y="1745320"/>
            <a:ext cx="3881226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47" y="2461480"/>
            <a:ext cx="3881225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" y="366676"/>
            <a:ext cx="3887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03724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5" name="Marcador de posición de imagen 9">
            <a:extLst>
              <a:ext uri="{FF2B5EF4-FFF2-40B4-BE49-F238E27FC236}">
                <a16:creationId xmlns:a16="http://schemas.microsoft.com/office/drawing/2014/main" id="{4DF4394C-AC73-B248-B9C9-EE57E9E5441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75612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9BDDDDE0-961B-8947-BB2E-8F6F758606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7" name="Marcador de texto 2">
            <a:extLst>
              <a:ext uri="{FF2B5EF4-FFF2-40B4-BE49-F238E27FC236}">
                <a16:creationId xmlns:a16="http://schemas.microsoft.com/office/drawing/2014/main" id="{64326B59-DC1B-884E-BD3B-6335375322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3018943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BAECF0-C28F-4108-8693-2861563FD2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BAECF0-C28F-4108-8693-2861563FD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5" y="609644"/>
            <a:ext cx="3704934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51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0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3" y="366676"/>
            <a:ext cx="3704934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10521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02795F5-6C12-834F-B019-D7809BB331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79439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3" name="Marcador de posición de imagen 9">
            <a:extLst>
              <a:ext uri="{FF2B5EF4-FFF2-40B4-BE49-F238E27FC236}">
                <a16:creationId xmlns:a16="http://schemas.microsoft.com/office/drawing/2014/main" id="{2AC0C1AC-37D1-D940-8C55-C962846D9A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0521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4" name="Marcador de posición de imagen 9">
            <a:extLst>
              <a:ext uri="{FF2B5EF4-FFF2-40B4-BE49-F238E27FC236}">
                <a16:creationId xmlns:a16="http://schemas.microsoft.com/office/drawing/2014/main" id="{C6F7ED5A-3746-7945-9845-224AFBD2E4B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979439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B00FAABF-2390-4848-A912-EC781DED91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8" name="Marcador de texto 2">
            <a:extLst>
              <a:ext uri="{FF2B5EF4-FFF2-40B4-BE49-F238E27FC236}">
                <a16:creationId xmlns:a16="http://schemas.microsoft.com/office/drawing/2014/main" id="{49922441-6D6B-D444-BB01-FD35AF058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7240952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o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32A83C-B541-4A38-9791-2B609EA4DC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022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32A83C-B541-4A38-9791-2B609EA4DC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399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6216" y="5444414"/>
            <a:ext cx="3235301" cy="587225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1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1429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0" name="Marcador de posición de imagen 16">
            <a:extLst>
              <a:ext uri="{FF2B5EF4-FFF2-40B4-BE49-F238E27FC236}">
                <a16:creationId xmlns:a16="http://schemas.microsoft.com/office/drawing/2014/main" id="{C9BE40AB-DD10-EA46-9CA3-54E8B95B7B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89867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1" name="Marcador de posición de imagen 16">
            <a:extLst>
              <a:ext uri="{FF2B5EF4-FFF2-40B4-BE49-F238E27FC236}">
                <a16:creationId xmlns:a16="http://schemas.microsoft.com/office/drawing/2014/main" id="{FD619271-213E-D646-A710-71914F2B32C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88472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1429" y="4984893"/>
            <a:ext cx="3240088" cy="444500"/>
          </a:xfrm>
        </p:spPr>
        <p:txBody>
          <a:bodyPr/>
          <a:lstStyle>
            <a:lvl1pPr algn="ctr" rtl="0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Body Subhead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41FEAD28-B0C6-7045-ACB6-9220400C01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002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3DC58B0B-28AC-3741-81D4-FCAC09C941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5241" y="4984893"/>
            <a:ext cx="3240088" cy="444500"/>
          </a:xfrm>
        </p:spPr>
        <p:txBody>
          <a:bodyPr/>
          <a:lstStyle>
            <a:lvl1pPr algn="ctr" rtl="0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Body Subhead</a:t>
            </a: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89EEEAB2-D851-3C4A-AD34-0D6D4B6A1D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9047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A73ED5A7-EBB5-C74D-A8C8-D8B8868EC5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5691" y="4984893"/>
            <a:ext cx="3240088" cy="444500"/>
          </a:xfrm>
        </p:spPr>
        <p:txBody>
          <a:bodyPr/>
          <a:lstStyle>
            <a:lvl1pPr algn="ctr" rtl="0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Body Subhead</a:t>
            </a:r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E9C1027A-D609-B44D-B011-C5BC896EF5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791DDE1D-4495-FC40-8CAE-8A84E9BF83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3626217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am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3E2559-F0AB-4648-B58C-B4494BF49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3168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3E2559-F0AB-4648-B58C-B4494BF49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0" name="Marcador de texto 2">
            <a:extLst>
              <a:ext uri="{FF2B5EF4-FFF2-40B4-BE49-F238E27FC236}">
                <a16:creationId xmlns:a16="http://schemas.microsoft.com/office/drawing/2014/main" id="{00CA439B-A2E9-AB47-81AE-731F953664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176221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_Numero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5DEF86E-45A9-4FB5-BFF3-15D6AEF125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582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5DEF86E-45A9-4FB5-BFF3-15D6AEF125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996" y="1490182"/>
            <a:ext cx="6613037" cy="1325563"/>
          </a:xfrm>
          <a:noFill/>
        </p:spPr>
        <p:txBody>
          <a:bodyPr vert="horz"/>
          <a:lstStyle>
            <a:lvl1pPr rtl="0">
              <a:defRPr/>
            </a:lvl1pPr>
          </a:lstStyle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264" y="3113378"/>
            <a:ext cx="6613037" cy="1087437"/>
          </a:xfrm>
        </p:spPr>
        <p:txBody>
          <a:bodyPr/>
          <a:lstStyle>
            <a:lvl1pPr rtl="0">
              <a:defRPr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2181" y="1014642"/>
            <a:ext cx="5269819" cy="4695825"/>
          </a:xfrm>
        </p:spPr>
        <p:txBody>
          <a:bodyPr>
            <a:noAutofit/>
          </a:bodyPr>
          <a:lstStyle>
            <a:lvl1pPr rtl="0">
              <a:defRPr sz="3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A2A588E5-6D27-744B-86BC-D6BA83178A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069245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6" grpId="0" build="p">
        <p:tmplLst>
          <p:tmpl lvl="1">
            <p:tnLst>
              <p:par>
                <p:cTn presetID="2" presetClass="entr" presetSubtype="4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am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694EE0-E685-4E7D-821A-9E241579D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654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694EE0-E685-4E7D-821A-9E241579D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ángulo 17">
            <a:extLst>
              <a:ext uri="{FF2B5EF4-FFF2-40B4-BE49-F238E27FC236}">
                <a16:creationId xmlns:a16="http://schemas.microsoft.com/office/drawing/2014/main" id="{7BF74AC2-6052-DE44-A2F8-685D64C198B3}"/>
              </a:ext>
            </a:extLst>
          </p:cNvPr>
          <p:cNvSpPr/>
          <p:nvPr userDrawn="1"/>
        </p:nvSpPr>
        <p:spPr>
          <a:xfrm>
            <a:off x="6953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84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72FAA048-4B5D-4E46-AC16-7452B6E31003}"/>
              </a:ext>
            </a:extLst>
          </p:cNvPr>
          <p:cNvSpPr/>
          <p:nvPr userDrawn="1"/>
        </p:nvSpPr>
        <p:spPr>
          <a:xfrm>
            <a:off x="35782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0" name="Marcador de posición de imagen 16">
            <a:extLst>
              <a:ext uri="{FF2B5EF4-FFF2-40B4-BE49-F238E27FC236}">
                <a16:creationId xmlns:a16="http://schemas.microsoft.com/office/drawing/2014/main" id="{7738A7D9-3E3A-9B40-A1C7-8018C92133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813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D2301D21-EF7B-7C46-A309-9161F0D613A6}"/>
              </a:ext>
            </a:extLst>
          </p:cNvPr>
          <p:cNvSpPr/>
          <p:nvPr userDrawn="1"/>
        </p:nvSpPr>
        <p:spPr>
          <a:xfrm>
            <a:off x="64611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2" name="Marcador de posición de imagen 16">
            <a:extLst>
              <a:ext uri="{FF2B5EF4-FFF2-40B4-BE49-F238E27FC236}">
                <a16:creationId xmlns:a16="http://schemas.microsoft.com/office/drawing/2014/main" id="{8BDA6A37-0168-9148-B73A-E2361E04F379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642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006BD6CA-9D28-324D-8CAC-1A48D712C4C0}"/>
              </a:ext>
            </a:extLst>
          </p:cNvPr>
          <p:cNvSpPr/>
          <p:nvPr userDrawn="1"/>
        </p:nvSpPr>
        <p:spPr>
          <a:xfrm>
            <a:off x="933767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4" name="Marcador de posición de imagen 16">
            <a:extLst>
              <a:ext uri="{FF2B5EF4-FFF2-40B4-BE49-F238E27FC236}">
                <a16:creationId xmlns:a16="http://schemas.microsoft.com/office/drawing/2014/main" id="{BED1A7FE-CD5F-FB4C-A982-6E2C839CD34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4084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6A1BD156-851D-AA43-AD36-3AC6C87568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4573058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am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7C8049-C6CE-4AD5-B1AF-49CFED0A1E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123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7C8049-C6CE-4AD5-B1AF-49CFED0A1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400" cy="800944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pic>
        <p:nvPicPr>
          <p:cNvPr id="30" name="Gráfico 29">
            <a:extLst>
              <a:ext uri="{FF2B5EF4-FFF2-40B4-BE49-F238E27FC236}">
                <a16:creationId xmlns:a16="http://schemas.microsoft.com/office/drawing/2014/main" id="{453AF884-B1B9-0C48-8FD4-D5D6E6285C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B64CCC92-63D8-E34A-B1B1-C29FCBDE1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1557965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6064CC1-8616-4494-A971-3EE89455C6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84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9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6064CC1-8616-4494-A971-3EE89455C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 rtl="0"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GB"/>
              <a:t>Lorem </a:t>
            </a:r>
            <a:r>
              <a:rPr lang="en-GB" err="1"/>
              <a:t>ipsumm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53ADC201-6CCF-7040-9003-2487F24AA2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1585451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38A6A3-7888-42F0-9E98-0277D48BE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80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38A6A3-7888-42F0-9E98-0277D48BE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D3B45862-9E43-9940-8549-F0AC9E09F87A}"/>
              </a:ext>
            </a:extLst>
          </p:cNvPr>
          <p:cNvSpPr/>
          <p:nvPr userDrawn="1"/>
        </p:nvSpPr>
        <p:spPr>
          <a:xfrm>
            <a:off x="0" y="2994668"/>
            <a:ext cx="12192000" cy="38633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 rtl="0"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GB"/>
              <a:t>Lorem </a:t>
            </a:r>
            <a:r>
              <a:rPr lang="en-GB" err="1"/>
              <a:t>ipsumm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2FF1FDC2-D46E-6C49-A565-EC6FC1D2AF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5377466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836E2A-8B47-4FB3-B264-3C4CC52F4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510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836E2A-8B47-4FB3-B264-3C4CC52F4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5" y="624929"/>
            <a:ext cx="11260757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5" y="366676"/>
            <a:ext cx="11260757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6388" y="1632375"/>
            <a:ext cx="5040313" cy="2156988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6" name="Marcador de contenido 6">
            <a:extLst>
              <a:ext uri="{FF2B5EF4-FFF2-40B4-BE49-F238E27FC236}">
                <a16:creationId xmlns:a16="http://schemas.microsoft.com/office/drawing/2014/main" id="{D3585285-DB0A-D049-AE19-C579B133D4D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25158" y="3874851"/>
            <a:ext cx="5031542" cy="243387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35638" y="1634623"/>
            <a:ext cx="5940425" cy="4674102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BCFF5F8B-A429-1045-9905-ED53E0E41D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680849D7-0063-AC44-AE00-A227F515AD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5139761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3E1556-BE90-4FB0-97FE-FB744D387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10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3E1556-BE90-4FB0-97FE-FB744D387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7" y="624929"/>
            <a:ext cx="3701531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7" y="366676"/>
            <a:ext cx="3701531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95776" y="366676"/>
            <a:ext cx="7380288" cy="5942049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905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904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</a:p>
          <a:p>
            <a:pPr lvl="0"/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D2BA8632-997F-3F47-ABDB-2402CD834FE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9E55FAA0-F851-A34F-A62C-AE1C1C2656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61587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0B83DF-DEB7-4E7D-B400-BD6BF9E0C0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0737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0B83DF-DEB7-4E7D-B400-BD6BF9E0C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6" y="624929"/>
            <a:ext cx="5150682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6" y="366676"/>
            <a:ext cx="515068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15144" y="1554855"/>
            <a:ext cx="7561262" cy="4673135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07199" y="1561007"/>
            <a:ext cx="3569657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07198" y="2277167"/>
            <a:ext cx="3569657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</a:p>
          <a:p>
            <a:pPr lvl="0"/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55F83C0-7004-434D-B73C-56FB99990B5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64E4008-824B-7441-B2C4-EB899FC5FE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7117375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2F91189-A08B-4F52-8B47-3F59B2514A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3780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2F91189-A08B-4F52-8B47-3F59B2514A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11268590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</a:p>
          <a:p>
            <a:pPr lvl="0"/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11268591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67F06FF-74A9-2E4A-9F48-78DDA1A238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9745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1DDC1D-9B7A-48BA-8614-1B4C558F12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9729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6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C1DDC1D-9B7A-48BA-8614-1B4C558F12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5334298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11262706" cy="1273612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	• Insert text here</a:t>
            </a:r>
            <a:br>
              <a:rPr lang="en-GB"/>
            </a:br>
            <a:r>
              <a:rPr lang="en-GB"/>
              <a:t>     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0" y="366676"/>
            <a:ext cx="11259303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>
                <a:latin typeface="+mn-lt"/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19B682D-98C8-6142-85E9-8149CBD195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05455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_Column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68C1FA-95AD-42BA-908C-E060ABEF97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8921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68C1FA-95AD-42BA-908C-E060ABEF9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654" y="609644"/>
            <a:ext cx="11257119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5541" y="1740662"/>
            <a:ext cx="5320097" cy="1391925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dui, gravida ac </a:t>
            </a:r>
            <a:r>
              <a:rPr lang="en-GB" err="1"/>
              <a:t>ornare</a:t>
            </a:r>
            <a:r>
              <a:rPr lang="en-GB"/>
              <a:t> ac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943" y="366676"/>
            <a:ext cx="11257120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BD8A9A29-247E-EA46-8CD4-1758841A8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541" y="3176718"/>
            <a:ext cx="5320097" cy="36382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5271E3B7-3FD3-8440-9710-E3439F3EE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5541" y="3540538"/>
            <a:ext cx="5320098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21" name="Marcador de texto 14">
            <a:extLst>
              <a:ext uri="{FF2B5EF4-FFF2-40B4-BE49-F238E27FC236}">
                <a16:creationId xmlns:a16="http://schemas.microsoft.com/office/drawing/2014/main" id="{01CE7070-5CE0-8D45-A606-20C768D30A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0977" y="1740662"/>
            <a:ext cx="5320097" cy="1391925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lacus</a:t>
            </a:r>
            <a:r>
              <a:rPr lang="en-GB"/>
              <a:t> dui, gravida ac </a:t>
            </a:r>
            <a:r>
              <a:rPr lang="en-GB" err="1"/>
              <a:t>ornare</a:t>
            </a:r>
            <a:r>
              <a:rPr lang="en-GB"/>
              <a:t> ac.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404E435A-E585-1841-9763-026093A593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0977" y="3176718"/>
            <a:ext cx="5320097" cy="36382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23" name="Marcador de texto 14">
            <a:extLst>
              <a:ext uri="{FF2B5EF4-FFF2-40B4-BE49-F238E27FC236}">
                <a16:creationId xmlns:a16="http://schemas.microsoft.com/office/drawing/2014/main" id="{5AB8C3F2-42FD-F745-A334-79067A11A4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50977" y="3540538"/>
            <a:ext cx="5320098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pic>
        <p:nvPicPr>
          <p:cNvPr id="25" name="Gráfico 24">
            <a:extLst>
              <a:ext uri="{FF2B5EF4-FFF2-40B4-BE49-F238E27FC236}">
                <a16:creationId xmlns:a16="http://schemas.microsoft.com/office/drawing/2014/main" id="{13C623E7-0B4E-7B4B-9050-79C0DA76EC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D4AE0868-A0F4-264A-9EA9-07A81DB503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481367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_Nume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24F5DFB-DCDE-42A2-A709-036F1220C9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721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24F5DFB-DCDE-42A2-A709-036F1220C9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996" y="1490182"/>
            <a:ext cx="6613037" cy="1325563"/>
          </a:xfrm>
          <a:noFill/>
        </p:spPr>
        <p:txBody>
          <a:bodyPr vert="horz"/>
          <a:lstStyle>
            <a:lvl1pPr rtl="0"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264" y="3113378"/>
            <a:ext cx="6613037" cy="1087437"/>
          </a:xfrm>
        </p:spPr>
        <p:txBody>
          <a:bodyPr/>
          <a:lstStyle>
            <a:lvl1pPr rtl="0"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2181" y="1014642"/>
            <a:ext cx="5269819" cy="4695825"/>
          </a:xfrm>
        </p:spPr>
        <p:txBody>
          <a:bodyPr>
            <a:noAutofit/>
          </a:bodyPr>
          <a:lstStyle>
            <a:lvl1pPr rtl="0">
              <a:defRPr sz="34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A2A588E5-6D27-744B-86BC-D6BA83178A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177582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6" grpId="0" build="p">
        <p:tmplLst>
          <p:tmpl lvl="1">
            <p:tnLst>
              <p:par>
                <p:cTn presetID="2" presetClass="entr" presetSubtype="4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o_Enfasis_Fondo_Bl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8D4605-FB71-4CE1-9776-FD9249143F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593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8D4605-FB71-4CE1-9776-FD9249143F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 vert="horz"/>
          <a:lstStyle>
            <a:lvl1pPr rtl="0">
              <a:defRPr sz="5000"/>
            </a:lvl1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 rtl="0">
              <a:defRPr sz="50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9A1EC2-E296-1C49-B7C5-AFC158D0F2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15203862-1283-E34D-BE23-248C9F6C36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28017100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o_Enfasis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1F9AF07-E65F-4498-AFFF-873BDCB74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6474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1F9AF07-E65F-4498-AFFF-873BDCB74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 vert="horz"/>
          <a:lstStyle>
            <a:lvl1pPr rtl="0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 rtl="0">
              <a:defRPr sz="5000" b="1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CD7EA10-D8A9-F847-AA68-9AEC57ED86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E485CB09-844D-904F-85A5-BB2AFEDB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4410893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5687E19-E71E-4487-9A91-882EFE476D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64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5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5687E19-E71E-4487-9A91-882EFE476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D505DD84-3AB6-8846-A315-20A1D68590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8850930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92F992C-416A-45DE-8C2E-17766B6A3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2579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92F992C-416A-45DE-8C2E-17766B6A3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B70B12B-8EC8-A743-A48B-40F9957BD415}"/>
              </a:ext>
            </a:extLst>
          </p:cNvPr>
          <p:cNvSpPr/>
          <p:nvPr userDrawn="1"/>
        </p:nvSpPr>
        <p:spPr>
          <a:xfrm>
            <a:off x="5375275" y="549275"/>
            <a:ext cx="5764188" cy="57641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7"/>
            <a:ext cx="5746065" cy="576418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A1802407-72B2-964E-B4A9-6250E65E73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3316469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xt_Imagen_Redonda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D671D26-56B0-40E3-8CA3-018957E33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03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D671D26-56B0-40E3-8CA3-018957E33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7" y="2461480"/>
            <a:ext cx="4595521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6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D44B2B31-AADE-2D40-A3C9-1A8A61B1489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770CF6B8-8544-A549-84E5-D504D346D2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5193593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o_Con_Imagen_Cuadra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CA1D93-E337-4F61-A0EC-6411C1413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8362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CA1D93-E337-4F61-A0EC-6411C1413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3704934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3704934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24A2D91-FE07-DD4B-8E90-1BD3F7A378A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95775" y="549275"/>
            <a:ext cx="7379970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F3BB164-BE43-B241-9BF7-49B8651FC68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97F4A28-618B-D442-A382-B99307487F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8770511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o_Con_Imagenes_Cuadrad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70A3A0-2559-4FC8-8CD3-EEFCBACB34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8265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70A3A0-2559-4FC8-8CD3-EEFCBACB34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11251681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1125168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E166127-948E-434C-90AC-DEE04C3D91A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15938" y="1628776"/>
            <a:ext cx="5508626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/>
              <a:t>Imagen </a:t>
            </a:r>
          </a:p>
        </p:txBody>
      </p:sp>
      <p:sp>
        <p:nvSpPr>
          <p:cNvPr id="19" name="Marcador de posición de imagen 9">
            <a:extLst>
              <a:ext uri="{FF2B5EF4-FFF2-40B4-BE49-F238E27FC236}">
                <a16:creationId xmlns:a16="http://schemas.microsoft.com/office/drawing/2014/main" id="{FD434FA2-08C3-B04D-956F-2D1EAED7F4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7438" y="1628775"/>
            <a:ext cx="5510442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/>
              <a:t>Imagen </a:t>
            </a:r>
          </a:p>
        </p:txBody>
      </p:sp>
      <p:pic>
        <p:nvPicPr>
          <p:cNvPr id="20" name="Gráfico 19">
            <a:extLst>
              <a:ext uri="{FF2B5EF4-FFF2-40B4-BE49-F238E27FC236}">
                <a16:creationId xmlns:a16="http://schemas.microsoft.com/office/drawing/2014/main" id="{138381B1-B5F7-6D41-8F03-FA5AF16419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F526D8D0-1560-7947-8798-DAB6816951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5099245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8900CB-E0AC-4A43-9380-38B8197E10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914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8900CB-E0AC-4A43-9380-38B8197E1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3887112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49" y="1745320"/>
            <a:ext cx="3881226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47" y="2461480"/>
            <a:ext cx="3881225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" y="366676"/>
            <a:ext cx="3887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03724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5" name="Marcador de posición de imagen 9">
            <a:extLst>
              <a:ext uri="{FF2B5EF4-FFF2-40B4-BE49-F238E27FC236}">
                <a16:creationId xmlns:a16="http://schemas.microsoft.com/office/drawing/2014/main" id="{4DF4394C-AC73-B248-B9C9-EE57E9E5441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75612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9BDDDDE0-961B-8947-BB2E-8F6F758606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7" name="Marcador de texto 2">
            <a:extLst>
              <a:ext uri="{FF2B5EF4-FFF2-40B4-BE49-F238E27FC236}">
                <a16:creationId xmlns:a16="http://schemas.microsoft.com/office/drawing/2014/main" id="{64326B59-DC1B-884E-BD3B-6335375322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1358857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BAECF0-C28F-4108-8693-2861563FD2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279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BAECF0-C28F-4108-8693-2861563FD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5" y="609644"/>
            <a:ext cx="3704934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51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0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  <a:br>
              <a:rPr lang="en-GB"/>
            </a:br>
            <a:r>
              <a:rPr lang="en-GB" err="1"/>
              <a:t>Aliquam</a:t>
            </a:r>
            <a:r>
              <a:rPr lang="en-GB"/>
              <a:t> 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  <a:br>
              <a:rPr lang="en-GB"/>
            </a:br>
            <a:r>
              <a:rPr lang="en-GB"/>
              <a:t> 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3" y="366676"/>
            <a:ext cx="3704934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10521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02795F5-6C12-834F-B019-D7809BB331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79439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3" name="Marcador de posición de imagen 9">
            <a:extLst>
              <a:ext uri="{FF2B5EF4-FFF2-40B4-BE49-F238E27FC236}">
                <a16:creationId xmlns:a16="http://schemas.microsoft.com/office/drawing/2014/main" id="{2AC0C1AC-37D1-D940-8C55-C962846D9A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0521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sp>
        <p:nvSpPr>
          <p:cNvPr id="14" name="Marcador de posición de imagen 9">
            <a:extLst>
              <a:ext uri="{FF2B5EF4-FFF2-40B4-BE49-F238E27FC236}">
                <a16:creationId xmlns:a16="http://schemas.microsoft.com/office/drawing/2014/main" id="{C6F7ED5A-3746-7945-9845-224AFBD2E4B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979439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mágen</a:t>
            </a:r>
            <a:endParaRPr lang="en-GB"/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B00FAABF-2390-4848-A912-EC781DED91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8" name="Marcador de texto 2">
            <a:extLst>
              <a:ext uri="{FF2B5EF4-FFF2-40B4-BE49-F238E27FC236}">
                <a16:creationId xmlns:a16="http://schemas.microsoft.com/office/drawing/2014/main" id="{49922441-6D6B-D444-BB01-FD35AF058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4225723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o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32A83C-B541-4A38-9791-2B609EA4DC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1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2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32A83C-B541-4A38-9791-2B609EA4DC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399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6216" y="5444414"/>
            <a:ext cx="3235301" cy="587225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1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1429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0" name="Marcador de posición de imagen 16">
            <a:extLst>
              <a:ext uri="{FF2B5EF4-FFF2-40B4-BE49-F238E27FC236}">
                <a16:creationId xmlns:a16="http://schemas.microsoft.com/office/drawing/2014/main" id="{C9BE40AB-DD10-EA46-9CA3-54E8B95B7B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89867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1" name="Marcador de posición de imagen 16">
            <a:extLst>
              <a:ext uri="{FF2B5EF4-FFF2-40B4-BE49-F238E27FC236}">
                <a16:creationId xmlns:a16="http://schemas.microsoft.com/office/drawing/2014/main" id="{FD619271-213E-D646-A710-71914F2B32C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88472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1429" y="4984893"/>
            <a:ext cx="3240088" cy="444500"/>
          </a:xfrm>
        </p:spPr>
        <p:txBody>
          <a:bodyPr/>
          <a:lstStyle>
            <a:lvl1pPr algn="ctr" rtl="0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Body Subhead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41FEAD28-B0C6-7045-ACB6-9220400C01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002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3DC58B0B-28AC-3741-81D4-FCAC09C941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5241" y="4984893"/>
            <a:ext cx="3240088" cy="444500"/>
          </a:xfrm>
        </p:spPr>
        <p:txBody>
          <a:bodyPr/>
          <a:lstStyle>
            <a:lvl1pPr algn="ctr" rtl="0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Body Subhead</a:t>
            </a: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89EEEAB2-D851-3C4A-AD34-0D6D4B6A1D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9047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A73ED5A7-EBB5-C74D-A8C8-D8B8868EC5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5691" y="4984893"/>
            <a:ext cx="3240088" cy="444500"/>
          </a:xfrm>
        </p:spPr>
        <p:txBody>
          <a:bodyPr/>
          <a:lstStyle>
            <a:lvl1pPr algn="ctr" rtl="0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Body Subhead</a:t>
            </a:r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E9C1027A-D609-B44D-B011-C5BC896EF5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791DDE1D-4495-FC40-8CAE-8A84E9BF83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881357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_Numer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D5DE2A-B0B4-440B-ADBB-97982672F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29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D5DE2A-B0B4-440B-ADBB-97982672F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996" y="1490182"/>
            <a:ext cx="6613037" cy="1325563"/>
          </a:xfrm>
          <a:noFill/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264" y="3113378"/>
            <a:ext cx="6613037" cy="1087437"/>
          </a:xfrm>
        </p:spPr>
        <p:txBody>
          <a:bodyPr/>
          <a:lstStyle>
            <a:lvl1pPr rtl="0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2181" y="1014642"/>
            <a:ext cx="5269819" cy="4695825"/>
          </a:xfrm>
        </p:spPr>
        <p:txBody>
          <a:bodyPr>
            <a:noAutofit/>
          </a:bodyPr>
          <a:lstStyle>
            <a:lvl1pPr rtl="0">
              <a:defRPr sz="3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1F113980-D274-D54B-AD70-99B76F41DF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596689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6" grpId="0" build="p">
        <p:tmplLst>
          <p:tmpl lvl="1">
            <p:tnLst>
              <p:par>
                <p:cTn presetID="2" presetClass="entr" presetSubtype="4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am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3E2559-F0AB-4648-B58C-B4494BF49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27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4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3E2559-F0AB-4648-B58C-B4494BF49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0" name="Marcador de texto 2">
            <a:extLst>
              <a:ext uri="{FF2B5EF4-FFF2-40B4-BE49-F238E27FC236}">
                <a16:creationId xmlns:a16="http://schemas.microsoft.com/office/drawing/2014/main" id="{00CA439B-A2E9-AB47-81AE-731F953664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8981994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am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694EE0-E685-4E7D-821A-9E241579DA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660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694EE0-E685-4E7D-821A-9E241579D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ángulo 17">
            <a:extLst>
              <a:ext uri="{FF2B5EF4-FFF2-40B4-BE49-F238E27FC236}">
                <a16:creationId xmlns:a16="http://schemas.microsoft.com/office/drawing/2014/main" id="{7BF74AC2-6052-DE44-A2F8-685D64C198B3}"/>
              </a:ext>
            </a:extLst>
          </p:cNvPr>
          <p:cNvSpPr/>
          <p:nvPr userDrawn="1"/>
        </p:nvSpPr>
        <p:spPr>
          <a:xfrm>
            <a:off x="6953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84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72FAA048-4B5D-4E46-AC16-7452B6E31003}"/>
              </a:ext>
            </a:extLst>
          </p:cNvPr>
          <p:cNvSpPr/>
          <p:nvPr userDrawn="1"/>
        </p:nvSpPr>
        <p:spPr>
          <a:xfrm>
            <a:off x="35782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0" name="Marcador de posición de imagen 16">
            <a:extLst>
              <a:ext uri="{FF2B5EF4-FFF2-40B4-BE49-F238E27FC236}">
                <a16:creationId xmlns:a16="http://schemas.microsoft.com/office/drawing/2014/main" id="{7738A7D9-3E3A-9B40-A1C7-8018C92133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813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D2301D21-EF7B-7C46-A309-9161F0D613A6}"/>
              </a:ext>
            </a:extLst>
          </p:cNvPr>
          <p:cNvSpPr/>
          <p:nvPr userDrawn="1"/>
        </p:nvSpPr>
        <p:spPr>
          <a:xfrm>
            <a:off x="64611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2" name="Marcador de posición de imagen 16">
            <a:extLst>
              <a:ext uri="{FF2B5EF4-FFF2-40B4-BE49-F238E27FC236}">
                <a16:creationId xmlns:a16="http://schemas.microsoft.com/office/drawing/2014/main" id="{8BDA6A37-0168-9148-B73A-E2361E04F379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642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006BD6CA-9D28-324D-8CAC-1A48D712C4C0}"/>
              </a:ext>
            </a:extLst>
          </p:cNvPr>
          <p:cNvSpPr/>
          <p:nvPr userDrawn="1"/>
        </p:nvSpPr>
        <p:spPr>
          <a:xfrm>
            <a:off x="933767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34" name="Marcador de posición de imagen 16">
            <a:extLst>
              <a:ext uri="{FF2B5EF4-FFF2-40B4-BE49-F238E27FC236}">
                <a16:creationId xmlns:a16="http://schemas.microsoft.com/office/drawing/2014/main" id="{BED1A7FE-CD5F-FB4C-A982-6E2C839CD34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4084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6A1BD156-851D-AA43-AD36-3AC6C87568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5530792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am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7C8049-C6CE-4AD5-B1AF-49CFED0A1E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323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9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7C8049-C6CE-4AD5-B1AF-49CFED0A1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400" cy="800944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 rtl="0">
              <a:defRPr sz="1600"/>
            </a:lvl1pPr>
          </a:lstStyle>
          <a:p>
            <a:r>
              <a:rPr lang="en-GB" err="1"/>
              <a:t>Inserte</a:t>
            </a:r>
            <a:r>
              <a:rPr lang="en-GB"/>
              <a:t> </a:t>
            </a:r>
            <a:r>
              <a:rPr lang="en-GB" err="1"/>
              <a:t>imágen</a:t>
            </a:r>
            <a:endParaRPr lang="en-GB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671"/>
            <a:ext cx="2160588" cy="497906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Job Title</a:t>
            </a:r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 rtl="0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</a:t>
            </a:r>
            <a:br>
              <a:rPr lang="en-GB"/>
            </a:br>
            <a:r>
              <a:rPr lang="en-GB"/>
              <a:t>Surname</a:t>
            </a:r>
          </a:p>
        </p:txBody>
      </p:sp>
      <p:pic>
        <p:nvPicPr>
          <p:cNvPr id="30" name="Gráfico 29">
            <a:extLst>
              <a:ext uri="{FF2B5EF4-FFF2-40B4-BE49-F238E27FC236}">
                <a16:creationId xmlns:a16="http://schemas.microsoft.com/office/drawing/2014/main" id="{453AF884-B1B9-0C48-8FD4-D5D6E6285C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B64CCC92-63D8-E34A-B1B1-C29FCBDE1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5782428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6064CC1-8616-4494-A971-3EE89455C6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38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1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6064CC1-8616-4494-A971-3EE89455C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 rtl="0"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GB"/>
              <a:t>Lorem </a:t>
            </a:r>
            <a:r>
              <a:rPr lang="en-GB" err="1"/>
              <a:t>ipsumm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53ADC201-6CCF-7040-9003-2487F24AA2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6018387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38A6A3-7888-42F0-9E98-0277D48BE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8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45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38A6A3-7888-42F0-9E98-0277D48BE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D3B45862-9E43-9940-8549-F0AC9E09F87A}"/>
              </a:ext>
            </a:extLst>
          </p:cNvPr>
          <p:cNvSpPr/>
          <p:nvPr userDrawn="1"/>
        </p:nvSpPr>
        <p:spPr>
          <a:xfrm>
            <a:off x="0" y="2994668"/>
            <a:ext cx="12192000" cy="38633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 rtl="0"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GB"/>
              <a:t>Lorem </a:t>
            </a:r>
            <a:r>
              <a:rPr lang="en-GB" err="1"/>
              <a:t>ipsumm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2FF1FDC2-D46E-6C49-A565-EC6FC1D2AF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22293089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836E2A-8B47-4FB3-B264-3C4CC52F4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0674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69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836E2A-8B47-4FB3-B264-3C4CC52F4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5" y="624929"/>
            <a:ext cx="11260757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5" y="366676"/>
            <a:ext cx="11260757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6388" y="1632375"/>
            <a:ext cx="5040313" cy="2156988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6" name="Marcador de contenido 6">
            <a:extLst>
              <a:ext uri="{FF2B5EF4-FFF2-40B4-BE49-F238E27FC236}">
                <a16:creationId xmlns:a16="http://schemas.microsoft.com/office/drawing/2014/main" id="{D3585285-DB0A-D049-AE19-C579B133D4D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25158" y="3874851"/>
            <a:ext cx="5031542" cy="2433874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35638" y="1634623"/>
            <a:ext cx="5940425" cy="4674102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BCFF5F8B-A429-1045-9905-ED53E0E41D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680849D7-0063-AC44-AE00-A227F515AD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46222848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3E1556-BE90-4FB0-97FE-FB744D387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4108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3E1556-BE90-4FB0-97FE-FB744D387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7" y="624929"/>
            <a:ext cx="3701531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7" y="366676"/>
            <a:ext cx="3701531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95776" y="366676"/>
            <a:ext cx="7380288" cy="5942049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905" y="1745320"/>
            <a:ext cx="3704934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904" y="2461480"/>
            <a:ext cx="3704934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</a:p>
          <a:p>
            <a:pPr lvl="0"/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D2BA8632-997F-3F47-ABDB-2402CD834FE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9E55FAA0-F851-A34F-A62C-AE1C1C2656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07091554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0B83DF-DEB7-4E7D-B400-BD6BF9E0C0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417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1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0B83DF-DEB7-4E7D-B400-BD6BF9E0C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6" y="624929"/>
            <a:ext cx="5150682" cy="79646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Insert Title Here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6" y="366676"/>
            <a:ext cx="5150682" cy="198438"/>
          </a:xfrm>
        </p:spPr>
        <p:txBody>
          <a:bodyPr>
            <a:noAutofit/>
          </a:bodyPr>
          <a:lstStyle>
            <a:lvl1pPr marL="0" indent="0" rtl="0">
              <a:buNone/>
              <a:defRPr sz="1300" b="1" cap="all" baseline="0"/>
            </a:lvl1pPr>
          </a:lstStyle>
          <a:p>
            <a:pPr lvl="0"/>
            <a:r>
              <a:rPr lang="en-GB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15144" y="1554855"/>
            <a:ext cx="7561262" cy="4673135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err="1"/>
              <a:t>Objeto</a:t>
            </a:r>
            <a:endParaRPr lang="en-GB"/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07199" y="1561007"/>
            <a:ext cx="3569657" cy="603600"/>
          </a:xfrm>
        </p:spPr>
        <p:txBody>
          <a:bodyPr/>
          <a:lstStyle>
            <a:lvl1pPr marL="0" indent="0" rtl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Body subhead (second level text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07198" y="2277167"/>
            <a:ext cx="3569657" cy="27178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cursus ipsum. </a:t>
            </a:r>
            <a:r>
              <a:rPr lang="en-GB" err="1"/>
              <a:t>Hasellus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metus</a:t>
            </a:r>
            <a:r>
              <a:rPr lang="en-GB"/>
              <a:t>, </a:t>
            </a:r>
            <a:r>
              <a:rPr lang="en-GB" err="1"/>
              <a:t>faucibus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interdum</a:t>
            </a:r>
            <a:r>
              <a:rPr lang="en-GB"/>
              <a:t> id, </a:t>
            </a:r>
            <a:r>
              <a:rPr lang="en-GB" err="1"/>
              <a:t>viverra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:</a:t>
            </a:r>
          </a:p>
          <a:p>
            <a:pPr lvl="0"/>
            <a:r>
              <a:rPr lang="en-GB"/>
              <a:t>        • Insert text here</a:t>
            </a:r>
            <a:br>
              <a:rPr lang="en-GB"/>
            </a:br>
            <a:r>
              <a:rPr lang="en-GB"/>
              <a:t>                 • Insert text here</a:t>
            </a:r>
            <a:br>
              <a:rPr lang="en-GB"/>
            </a:br>
            <a:r>
              <a:rPr lang="en-GB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55F83C0-7004-434D-B73C-56FB99990B5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64E4008-824B-7441-B2C4-EB899FC5FE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984538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11268590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11268591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967F06FF-74A9-2E4A-9F48-78DDA1A238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49473A57-1097-594F-8845-F871CEBEA0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1331284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2" y="609644"/>
            <a:ext cx="11259303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5334298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11262706" cy="1273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	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0" y="366676"/>
            <a:ext cx="1125930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latin typeface="+mn-lt"/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19B682D-98C8-6142-85E9-8149CBD195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37EC0C27-5E8F-CE46-9D3F-E57743BA89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8645838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_Numero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2E698A-BEF9-4906-A418-B110F1814C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073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3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2E698A-BEF9-4906-A418-B110F1814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996" y="1490182"/>
            <a:ext cx="6613037" cy="1325563"/>
          </a:xfrm>
          <a:noFill/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264" y="3113378"/>
            <a:ext cx="6613037" cy="1087437"/>
          </a:xfrm>
        </p:spPr>
        <p:txBody>
          <a:bodyPr/>
          <a:lstStyle>
            <a:lvl1pPr rtl="0"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2181" y="1014642"/>
            <a:ext cx="5269819" cy="4695825"/>
          </a:xfrm>
        </p:spPr>
        <p:txBody>
          <a:bodyPr>
            <a:noAutofit/>
          </a:bodyPr>
          <a:lstStyle>
            <a:lvl1pPr rtl="0">
              <a:defRPr sz="34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3005C5CA-F42A-644B-A70F-02024F4A42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128773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6" grpId="0" build="p">
        <p:tmplLst>
          <p:tmpl lvl="1">
            <p:tnLst>
              <p:par>
                <p:cTn presetID="2" presetClass="entr" presetSubtype="4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_Column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9654" y="609644"/>
            <a:ext cx="11257119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5541" y="1740662"/>
            <a:ext cx="5320097" cy="13919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lacus</a:t>
            </a:r>
            <a:r>
              <a:rPr lang="es-ES"/>
              <a:t> </a:t>
            </a:r>
            <a:r>
              <a:rPr lang="es-ES" err="1"/>
              <a:t>dui</a:t>
            </a:r>
            <a:r>
              <a:rPr lang="es-ES"/>
              <a:t>, </a:t>
            </a:r>
            <a:r>
              <a:rPr lang="es-ES" err="1"/>
              <a:t>gravida</a:t>
            </a:r>
            <a:r>
              <a:rPr lang="es-ES"/>
              <a:t> </a:t>
            </a:r>
            <a:r>
              <a:rPr lang="es-ES" err="1"/>
              <a:t>ac</a:t>
            </a:r>
            <a:r>
              <a:rPr lang="es-ES"/>
              <a:t> ornare </a:t>
            </a:r>
            <a:r>
              <a:rPr lang="es-ES" err="1"/>
              <a:t>ac</a:t>
            </a:r>
            <a:r>
              <a:rPr lang="es-ES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943" y="366676"/>
            <a:ext cx="11257120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BD8A9A29-247E-EA46-8CD4-1758841A8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541" y="3176718"/>
            <a:ext cx="5320097" cy="36382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5271E3B7-3FD3-8440-9710-E3439F3EE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5541" y="3540538"/>
            <a:ext cx="5320098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21" name="Marcador de texto 14">
            <a:extLst>
              <a:ext uri="{FF2B5EF4-FFF2-40B4-BE49-F238E27FC236}">
                <a16:creationId xmlns:a16="http://schemas.microsoft.com/office/drawing/2014/main" id="{01CE7070-5CE0-8D45-A606-20C768D30A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0977" y="1740662"/>
            <a:ext cx="5320097" cy="139192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lacus</a:t>
            </a:r>
            <a:r>
              <a:rPr lang="es-ES"/>
              <a:t> </a:t>
            </a:r>
            <a:r>
              <a:rPr lang="es-ES" err="1"/>
              <a:t>dui</a:t>
            </a:r>
            <a:r>
              <a:rPr lang="es-ES"/>
              <a:t>, </a:t>
            </a:r>
            <a:r>
              <a:rPr lang="es-ES" err="1"/>
              <a:t>gravida</a:t>
            </a:r>
            <a:r>
              <a:rPr lang="es-ES"/>
              <a:t> </a:t>
            </a:r>
            <a:r>
              <a:rPr lang="es-ES" err="1"/>
              <a:t>ac</a:t>
            </a:r>
            <a:r>
              <a:rPr lang="es-ES"/>
              <a:t> ornare </a:t>
            </a:r>
            <a:r>
              <a:rPr lang="es-ES" err="1"/>
              <a:t>ac</a:t>
            </a:r>
            <a:r>
              <a:rPr lang="es-ES"/>
              <a:t>.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404E435A-E585-1841-9763-026093A593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50977" y="3176718"/>
            <a:ext cx="5320097" cy="36382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23" name="Marcador de texto 14">
            <a:extLst>
              <a:ext uri="{FF2B5EF4-FFF2-40B4-BE49-F238E27FC236}">
                <a16:creationId xmlns:a16="http://schemas.microsoft.com/office/drawing/2014/main" id="{5AB8C3F2-42FD-F745-A334-79067A11A4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50977" y="3540538"/>
            <a:ext cx="5320098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25" name="Gráfico 24">
            <a:extLst>
              <a:ext uri="{FF2B5EF4-FFF2-40B4-BE49-F238E27FC236}">
                <a16:creationId xmlns:a16="http://schemas.microsoft.com/office/drawing/2014/main" id="{13C623E7-0B4E-7B4B-9050-79C0DA76E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D4AE0868-A0F4-264A-9EA9-07A81DB503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2416509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o_Enfasis_Fondo_Bl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/>
          <a:lstStyle>
            <a:lvl1pPr>
              <a:defRPr sz="5000"/>
            </a:lvl1pPr>
          </a:lstStyle>
          <a:p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>
              <a:defRPr sz="50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059A1EC2-E296-1C49-B7C5-AFC158D0F2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15203862-1283-E34D-BE23-248C9F6C36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8560286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o_Enfasis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39" y="1479572"/>
            <a:ext cx="9471857" cy="1589066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5599" y="3141663"/>
            <a:ext cx="10923594" cy="2087562"/>
          </a:xfrm>
        </p:spPr>
        <p:txBody>
          <a:bodyPr>
            <a:noAutofit/>
          </a:bodyPr>
          <a:lstStyle>
            <a:lvl1pPr>
              <a:defRPr sz="5000" b="1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5000" b="1"/>
            </a:lvl2pPr>
            <a:lvl3pPr>
              <a:defRPr sz="5000" b="1"/>
            </a:lvl3pPr>
            <a:lvl4pPr>
              <a:defRPr sz="5000" b="1"/>
            </a:lvl4pPr>
            <a:lvl5pPr>
              <a:defRPr sz="5000" b="1"/>
            </a:lvl5pPr>
          </a:lstStyle>
          <a:p>
            <a:pPr lvl="0"/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4CD7EA10-D8A9-F847-AA68-9AEC57ED86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E485CB09-844D-904F-85A5-BB2AFEDB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5670362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D505DD84-3AB6-8846-A315-20A1D68590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5326617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B70B12B-8EC8-A743-A48B-40F9957BD415}"/>
              </a:ext>
            </a:extLst>
          </p:cNvPr>
          <p:cNvSpPr/>
          <p:nvPr userDrawn="1"/>
        </p:nvSpPr>
        <p:spPr>
          <a:xfrm>
            <a:off x="5375275" y="549275"/>
            <a:ext cx="5764188" cy="57641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8" y="2461480"/>
            <a:ext cx="4595520" cy="2717800"/>
          </a:xfr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7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7"/>
            <a:ext cx="5746065" cy="576418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2978F95F-1C5B-0142-A1FD-DA63FB4F46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A1802407-72B2-964E-B4A9-6250E65E73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3027810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xt_Imagen_Redonda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5320545" cy="800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0978" y="1745320"/>
            <a:ext cx="4595521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77" y="2461480"/>
            <a:ext cx="4595521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5311256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80500" y="556106"/>
            <a:ext cx="5758963" cy="577712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D44B2B31-AADE-2D40-A3C9-1A8A61B148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770CF6B8-8544-A549-84E5-D504D346D2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8018452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o_Con_Imagen_Cuadra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473" y="609644"/>
            <a:ext cx="3704934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59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58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761" y="366676"/>
            <a:ext cx="3704934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24A2D91-FE07-DD4B-8E90-1BD3F7A378A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295775" y="549275"/>
            <a:ext cx="7379970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F3BB164-BE43-B241-9BF7-49B8651FC6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97F4A28-618B-D442-A382-B99307487F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48498990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o_Con_Imagenes_Cuadrad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092" y="609644"/>
            <a:ext cx="11251681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4381" y="366676"/>
            <a:ext cx="1125168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E166127-948E-434C-90AC-DEE04C3D91A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15938" y="1628776"/>
            <a:ext cx="5508626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magen </a:t>
            </a:r>
          </a:p>
        </p:txBody>
      </p:sp>
      <p:sp>
        <p:nvSpPr>
          <p:cNvPr id="19" name="Marcador de posición de imagen 9">
            <a:extLst>
              <a:ext uri="{FF2B5EF4-FFF2-40B4-BE49-F238E27FC236}">
                <a16:creationId xmlns:a16="http://schemas.microsoft.com/office/drawing/2014/main" id="{FD434FA2-08C3-B04D-956F-2D1EAED7F4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7438" y="1628775"/>
            <a:ext cx="5510442" cy="4679949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magen </a:t>
            </a:r>
          </a:p>
        </p:txBody>
      </p:sp>
      <p:pic>
        <p:nvPicPr>
          <p:cNvPr id="20" name="Gráfico 19">
            <a:extLst>
              <a:ext uri="{FF2B5EF4-FFF2-40B4-BE49-F238E27FC236}">
                <a16:creationId xmlns:a16="http://schemas.microsoft.com/office/drawing/2014/main" id="{138381B1-B5F7-6D41-8F03-FA5AF16419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F526D8D0-1560-7947-8798-DAB6816951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0792391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3887112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49" y="1745320"/>
            <a:ext cx="3881226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47" y="2461480"/>
            <a:ext cx="3881225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" y="366676"/>
            <a:ext cx="3887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03724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5" name="Marcador de posición de imagen 9">
            <a:extLst>
              <a:ext uri="{FF2B5EF4-FFF2-40B4-BE49-F238E27FC236}">
                <a16:creationId xmlns:a16="http://schemas.microsoft.com/office/drawing/2014/main" id="{4DF4394C-AC73-B248-B9C9-EE57E9E5441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75612" y="549239"/>
            <a:ext cx="3600451" cy="575945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9BDDDDE0-961B-8947-BB2E-8F6F758606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7" name="Marcador de texto 2">
            <a:extLst>
              <a:ext uri="{FF2B5EF4-FFF2-40B4-BE49-F238E27FC236}">
                <a16:creationId xmlns:a16="http://schemas.microsoft.com/office/drawing/2014/main" id="{64326B59-DC1B-884E-BD3B-6335375322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02810895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5" y="609644"/>
            <a:ext cx="3704934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4551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4550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3" y="366676"/>
            <a:ext cx="3704934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10521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02795F5-6C12-834F-B019-D7809BB331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79439" y="549275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3" name="Marcador de posición de imagen 9">
            <a:extLst>
              <a:ext uri="{FF2B5EF4-FFF2-40B4-BE49-F238E27FC236}">
                <a16:creationId xmlns:a16="http://schemas.microsoft.com/office/drawing/2014/main" id="{2AC0C1AC-37D1-D940-8C55-C962846D9A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0521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4" name="Marcador de posición de imagen 9">
            <a:extLst>
              <a:ext uri="{FF2B5EF4-FFF2-40B4-BE49-F238E27FC236}">
                <a16:creationId xmlns:a16="http://schemas.microsoft.com/office/drawing/2014/main" id="{C6F7ED5A-3746-7945-9845-224AFBD2E4B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979439" y="3465741"/>
            <a:ext cx="3695700" cy="284593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B00FAABF-2390-4848-A912-EC781DED91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8" name="Marcador de texto 2">
            <a:extLst>
              <a:ext uri="{FF2B5EF4-FFF2-40B4-BE49-F238E27FC236}">
                <a16:creationId xmlns:a16="http://schemas.microsoft.com/office/drawing/2014/main" id="{49922441-6D6B-D444-BB01-FD35AF058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1368401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_Numero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47E417-B9BD-4937-A394-466DB9080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731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7" name="Diapositiva de think-cell" r:id="rId4" imgW="473" imgH="476" progId="TCLayout.ActiveDocument.1">
                  <p:embed/>
                </p:oleObj>
              </mc:Choice>
              <mc:Fallback>
                <p:oleObj name="Diapositiva de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47E417-B9BD-4937-A394-466DB9080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996" y="1490182"/>
            <a:ext cx="6613037" cy="1325563"/>
          </a:xfrm>
          <a:noFill/>
        </p:spPr>
        <p:txBody>
          <a:bodyPr vert="horz"/>
          <a:lstStyle>
            <a:lvl1pPr rtl="0">
              <a:defRPr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264" y="3113378"/>
            <a:ext cx="6613037" cy="1087437"/>
          </a:xfrm>
        </p:spPr>
        <p:txBody>
          <a:bodyPr/>
          <a:lstStyle>
            <a:lvl1pPr rtl="0">
              <a:defRPr baseline="0"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endParaRPr lang="en-GB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22181" y="1014642"/>
            <a:ext cx="5269819" cy="4695825"/>
          </a:xfrm>
        </p:spPr>
        <p:txBody>
          <a:bodyPr>
            <a:noAutofit/>
          </a:bodyPr>
          <a:lstStyle>
            <a:lvl1pPr rtl="0">
              <a:defRPr sz="34000" b="0"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CD503779-9A3F-774F-88AE-1D130E3B08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04471" y="296112"/>
            <a:ext cx="2125662" cy="288925"/>
          </a:xfrm>
        </p:spPr>
        <p:txBody>
          <a:bodyPr>
            <a:noAutofit/>
          </a:bodyPr>
          <a:lstStyle>
            <a:lvl1pPr rtl="0"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375109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6" grpId="0" build="p">
        <p:tmplLst>
          <p:tmpl lvl="1">
            <p:tnLst>
              <p:par>
                <p:cTn presetID="2" presetClass="entr" presetSubtype="4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o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399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6216" y="5444414"/>
            <a:ext cx="3235301" cy="587225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1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1429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posición de imagen 16">
            <a:extLst>
              <a:ext uri="{FF2B5EF4-FFF2-40B4-BE49-F238E27FC236}">
                <a16:creationId xmlns:a16="http://schemas.microsoft.com/office/drawing/2014/main" id="{C9BE40AB-DD10-EA46-9CA3-54E8B95B7B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89867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1" name="Marcador de posición de imagen 16">
            <a:extLst>
              <a:ext uri="{FF2B5EF4-FFF2-40B4-BE49-F238E27FC236}">
                <a16:creationId xmlns:a16="http://schemas.microsoft.com/office/drawing/2014/main" id="{FD619271-213E-D646-A710-71914F2B32C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88472" y="1629918"/>
            <a:ext cx="3240088" cy="32503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1429" y="4984893"/>
            <a:ext cx="3240088" cy="444500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41FEAD28-B0C6-7045-ACB6-9220400C01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9002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3DC58B0B-28AC-3741-81D4-FCAC09C941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85241" y="4984893"/>
            <a:ext cx="3240088" cy="444500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89EEEAB2-D851-3C4A-AD34-0D6D4B6A1D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90478" y="5444414"/>
            <a:ext cx="3235301" cy="587225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A73ED5A7-EBB5-C74D-A8C8-D8B8868EC5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5691" y="4984893"/>
            <a:ext cx="3240088" cy="444500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E9C1027A-D609-B44D-B011-C5BC896EF5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791DDE1D-4495-FC40-8CAE-8A84E9BF83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14507216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am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0" name="Marcador de texto 2">
            <a:extLst>
              <a:ext uri="{FF2B5EF4-FFF2-40B4-BE49-F238E27FC236}">
                <a16:creationId xmlns:a16="http://schemas.microsoft.com/office/drawing/2014/main" id="{00CA439B-A2E9-AB47-81AE-731F953664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03455802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am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17">
            <a:extLst>
              <a:ext uri="{FF2B5EF4-FFF2-40B4-BE49-F238E27FC236}">
                <a16:creationId xmlns:a16="http://schemas.microsoft.com/office/drawing/2014/main" id="{7BF74AC2-6052-DE44-A2F8-685D64C198B3}"/>
              </a:ext>
            </a:extLst>
          </p:cNvPr>
          <p:cNvSpPr/>
          <p:nvPr userDrawn="1"/>
        </p:nvSpPr>
        <p:spPr>
          <a:xfrm>
            <a:off x="6953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2" y="609644"/>
            <a:ext cx="11267401" cy="800944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84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133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pic>
        <p:nvPicPr>
          <p:cNvPr id="29" name="Gráfico 28">
            <a:extLst>
              <a:ext uri="{FF2B5EF4-FFF2-40B4-BE49-F238E27FC236}">
                <a16:creationId xmlns:a16="http://schemas.microsoft.com/office/drawing/2014/main" id="{F0794760-DADD-804C-A55D-319B3E76F3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72FAA048-4B5D-4E46-AC16-7452B6E31003}"/>
              </a:ext>
            </a:extLst>
          </p:cNvPr>
          <p:cNvSpPr/>
          <p:nvPr userDrawn="1"/>
        </p:nvSpPr>
        <p:spPr>
          <a:xfrm>
            <a:off x="35782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0" name="Marcador de posición de imagen 16">
            <a:extLst>
              <a:ext uri="{FF2B5EF4-FFF2-40B4-BE49-F238E27FC236}">
                <a16:creationId xmlns:a16="http://schemas.microsoft.com/office/drawing/2014/main" id="{7738A7D9-3E3A-9B40-A1C7-8018C92133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813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D2301D21-EF7B-7C46-A309-9161F0D613A6}"/>
              </a:ext>
            </a:extLst>
          </p:cNvPr>
          <p:cNvSpPr/>
          <p:nvPr userDrawn="1"/>
        </p:nvSpPr>
        <p:spPr>
          <a:xfrm>
            <a:off x="646112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Marcador de posición de imagen 16">
            <a:extLst>
              <a:ext uri="{FF2B5EF4-FFF2-40B4-BE49-F238E27FC236}">
                <a16:creationId xmlns:a16="http://schemas.microsoft.com/office/drawing/2014/main" id="{8BDA6A37-0168-9148-B73A-E2361E04F379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6429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006BD6CA-9D28-324D-8CAC-1A48D712C4C0}"/>
              </a:ext>
            </a:extLst>
          </p:cNvPr>
          <p:cNvSpPr/>
          <p:nvPr userDrawn="1"/>
        </p:nvSpPr>
        <p:spPr>
          <a:xfrm>
            <a:off x="9337674" y="1989137"/>
            <a:ext cx="2160589" cy="21620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4" name="Marcador de posición de imagen 16">
            <a:extLst>
              <a:ext uri="{FF2B5EF4-FFF2-40B4-BE49-F238E27FC236}">
                <a16:creationId xmlns:a16="http://schemas.microsoft.com/office/drawing/2014/main" id="{BED1A7FE-CD5F-FB4C-A982-6E2C839CD34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40849" y="1989138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6A1BD156-851D-AA43-AD36-3AC6C87568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91951856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am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663" y="609644"/>
            <a:ext cx="11267400" cy="800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4978671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51" y="366676"/>
            <a:ext cx="1125811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06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0662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708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66462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53595" y="1974883"/>
            <a:ext cx="2155251" cy="2162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76547" y="4978671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1884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7769" y="4978671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63106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992" y="4978671"/>
            <a:ext cx="2160588" cy="497906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44329" y="4245635"/>
            <a:ext cx="2155252" cy="735940"/>
          </a:xfrm>
        </p:spPr>
        <p:txBody>
          <a:bodyPr/>
          <a:lstStyle>
            <a:lvl1pPr algn="ctr">
              <a:spcBef>
                <a:spcPts val="70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pic>
        <p:nvPicPr>
          <p:cNvPr id="30" name="Gráfico 29">
            <a:extLst>
              <a:ext uri="{FF2B5EF4-FFF2-40B4-BE49-F238E27FC236}">
                <a16:creationId xmlns:a16="http://schemas.microsoft.com/office/drawing/2014/main" id="{453AF884-B1B9-0C48-8FD4-D5D6E6285C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B64CCC92-63D8-E34A-B1B1-C29FCBDE1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19142342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53ADC201-6CCF-7040-9003-2487F24AA2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2110045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3B45862-9E43-9940-8549-F0AC9E09F87A}"/>
              </a:ext>
            </a:extLst>
          </p:cNvPr>
          <p:cNvSpPr/>
          <p:nvPr userDrawn="1"/>
        </p:nvSpPr>
        <p:spPr>
          <a:xfrm>
            <a:off x="0" y="2994668"/>
            <a:ext cx="12192000" cy="38633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947" y="624929"/>
            <a:ext cx="11258113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947" y="366676"/>
            <a:ext cx="5678053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5938" y="2349500"/>
            <a:ext cx="11160125" cy="395922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434" y="1628775"/>
            <a:ext cx="11258627" cy="720725"/>
          </a:xfr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CFBB135C-442B-8249-99DF-C8CAA7A981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2FF1FDC2-D46E-6C49-A565-EC6FC1D2AF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9793061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5" y="624929"/>
            <a:ext cx="11260757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5" y="366676"/>
            <a:ext cx="11260757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6388" y="1632375"/>
            <a:ext cx="5040313" cy="2156988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contenido 6">
            <a:extLst>
              <a:ext uri="{FF2B5EF4-FFF2-40B4-BE49-F238E27FC236}">
                <a16:creationId xmlns:a16="http://schemas.microsoft.com/office/drawing/2014/main" id="{D3585285-DB0A-D049-AE19-C579B133D4D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25158" y="3874851"/>
            <a:ext cx="5031542" cy="243387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735638" y="1634623"/>
            <a:ext cx="5940425" cy="4674102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BCFF5F8B-A429-1045-9905-ED53E0E41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680849D7-0063-AC44-AE00-A227F515AD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9274276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7" y="624929"/>
            <a:ext cx="3701531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7" y="366676"/>
            <a:ext cx="3701531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95776" y="366676"/>
            <a:ext cx="7380288" cy="5942049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905" y="1745320"/>
            <a:ext cx="3704934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904" y="2461480"/>
            <a:ext cx="3704934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D2BA8632-997F-3F47-ABDB-2402CD834F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9E55FAA0-F851-A34F-A62C-AE1C1C2656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2516474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306" y="624929"/>
            <a:ext cx="5150682" cy="79646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306" y="366676"/>
            <a:ext cx="5150682" cy="198438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15144" y="1554855"/>
            <a:ext cx="7561262" cy="4673135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07199" y="1561007"/>
            <a:ext cx="3569657" cy="603600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07198" y="2277167"/>
            <a:ext cx="3569657" cy="2717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F55F83C0-7004-434D-B73C-56FB99990B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64E4008-824B-7441-B2C4-EB899FC5FE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04471" y="303607"/>
            <a:ext cx="2125662" cy="288925"/>
          </a:xfrm>
        </p:spPr>
        <p:txBody>
          <a:bodyPr>
            <a:noAutofit/>
          </a:bodyPr>
          <a:lstStyle>
            <a:lvl1pPr>
              <a:defRPr sz="105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3549566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sv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vmlDrawing" Target="../drawings/vmlDrawing12.vml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oleObject" Target="../embeddings/oleObject12.bin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tags" Target="../tags/tag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5.v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tags" Target="../tags/tag3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6.v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tags" Target="../tags/tag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oleObject" Target="../embeddings/oleObject38.bin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3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vmlDrawing" Target="../drawings/vmlDrawing38.v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oleObject" Target="../embeddings/oleObject60.bin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tags" Target="../tags/tag61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vmlDrawing" Target="../drawings/vmlDrawing60.v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image" Target="../media/image12.emf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oleObject" Target="../embeddings/oleObject82.bin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tags" Target="../tags/tag83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vmlDrawing" Target="../drawings/vmlDrawing82.v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24E596-F92C-4077-A5DE-355FAB28AE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69529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Diapositiva de think-cell" r:id="rId7" imgW="410" imgH="409" progId="TCLayout.ActiveDocument.1">
                  <p:embed/>
                </p:oleObj>
              </mc:Choice>
              <mc:Fallback>
                <p:oleObj name="Diapositiva de think-cell" r:id="rId7" imgW="410" imgH="40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24E596-F92C-4077-A5DE-355FAB28AE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021" y="1541723"/>
            <a:ext cx="10515600" cy="5176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el </a:t>
            </a:r>
            <a:r>
              <a:rPr lang="en-GB" err="1"/>
              <a:t>estilo</a:t>
            </a:r>
            <a:r>
              <a:rPr lang="en-GB"/>
              <a:t> de </a:t>
            </a:r>
            <a:r>
              <a:rPr lang="en-GB" err="1"/>
              <a:t>títul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8058" y="3389715"/>
            <a:ext cx="10515600" cy="9068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los </a:t>
            </a:r>
            <a:r>
              <a:rPr lang="en-GB" err="1"/>
              <a:t>estilos</a:t>
            </a:r>
            <a:r>
              <a:rPr lang="en-GB"/>
              <a:t> de </a:t>
            </a:r>
            <a:r>
              <a:rPr lang="en-GB" err="1"/>
              <a:t>text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BA15BD63-25DB-3B42-A790-8477BD25011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3944" y="6421060"/>
            <a:ext cx="738639" cy="205764"/>
          </a:xfrm>
          <a:prstGeom prst="rect">
            <a:avLst/>
          </a:prstGeom>
        </p:spPr>
      </p:pic>
      <p:sp>
        <p:nvSpPr>
          <p:cNvPr id="7" name="MSIPCMContentMarking" descr="{&quot;HashCode&quot;:1696608652,&quot;Placement&quot;:&quot;Footer&quot;,&quot;Top&quot;:515.826355,&quot;Left&quot;:0.0,&quot;SlideWidth&quot;:960,&quot;SlideHeight&quot;:540}">
            <a:extLst>
              <a:ext uri="{FF2B5EF4-FFF2-40B4-BE49-F238E27FC236}">
                <a16:creationId xmlns:a16="http://schemas.microsoft.com/office/drawing/2014/main" id="{AF59B78C-1DCD-429B-822D-9354FC3560F9}"/>
              </a:ext>
            </a:extLst>
          </p:cNvPr>
          <p:cNvSpPr txBox="1"/>
          <p:nvPr userDrawn="1"/>
        </p:nvSpPr>
        <p:spPr>
          <a:xfrm>
            <a:off x="0" y="6550995"/>
            <a:ext cx="3088690" cy="3070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ES" sz="700">
                <a:solidFill>
                  <a:srgbClr val="000000"/>
                </a:solidFill>
                <a:latin typeface="Arial" panose="020B0604020202020204" pitchFamily="34" charset="0"/>
              </a:rPr>
              <a:t>***Este documento está clasificado como PUBLICO por TELEFÓNICA.
***This document is classified as PUBLIC by TELEFÓNICA.</a:t>
            </a:r>
          </a:p>
        </p:txBody>
      </p:sp>
    </p:spTree>
    <p:extLst>
      <p:ext uri="{BB962C8B-B14F-4D97-AF65-F5344CB8AC3E}">
        <p14:creationId xmlns:p14="http://schemas.microsoft.com/office/powerpoint/2010/main" val="3386373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300" kern="1200" cap="all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kern="1200" cap="all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613" userDrawn="1">
          <p15:clr>
            <a:srgbClr val="F26B43"/>
          </p15:clr>
        </p15:guide>
        <p15:guide id="9" pos="3386" userDrawn="1">
          <p15:clr>
            <a:srgbClr val="F26B43"/>
          </p15:clr>
        </p15:guide>
        <p15:guide id="10" pos="3160" userDrawn="1">
          <p15:clr>
            <a:srgbClr val="F26B43"/>
          </p15:clr>
        </p15:guide>
        <p15:guide id="11" pos="2933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2479" userDrawn="1">
          <p15:clr>
            <a:srgbClr val="F26B43"/>
          </p15:clr>
        </p15:guide>
        <p15:guide id="14" pos="2252" userDrawn="1">
          <p15:clr>
            <a:srgbClr val="F26B43"/>
          </p15:clr>
        </p15:guide>
        <p15:guide id="15" pos="2026" userDrawn="1">
          <p15:clr>
            <a:srgbClr val="F26B43"/>
          </p15:clr>
        </p15:guide>
        <p15:guide id="16" pos="1572" userDrawn="1">
          <p15:clr>
            <a:srgbClr val="F26B43"/>
          </p15:clr>
        </p15:guide>
        <p15:guide id="17" pos="1345" userDrawn="1">
          <p15:clr>
            <a:srgbClr val="F26B43"/>
          </p15:clr>
        </p15:guide>
        <p15:guide id="18" pos="1799" userDrawn="1">
          <p15:clr>
            <a:srgbClr val="F26B43"/>
          </p15:clr>
        </p15:guide>
        <p15:guide id="19" pos="1118" userDrawn="1">
          <p15:clr>
            <a:srgbClr val="F26B43"/>
          </p15:clr>
        </p15:guide>
        <p15:guide id="20" pos="892" userDrawn="1">
          <p15:clr>
            <a:srgbClr val="F26B43"/>
          </p15:clr>
        </p15:guide>
        <p15:guide id="21" pos="665" userDrawn="1">
          <p15:clr>
            <a:srgbClr val="F26B43"/>
          </p15:clr>
        </p15:guide>
        <p15:guide id="22" pos="438" userDrawn="1">
          <p15:clr>
            <a:srgbClr val="F26B43"/>
          </p15:clr>
        </p15:guide>
        <p15:guide id="23" pos="211" userDrawn="1">
          <p15:clr>
            <a:srgbClr val="F26B43"/>
          </p15:clr>
        </p15:guide>
        <p15:guide id="24" pos="4067" userDrawn="1">
          <p15:clr>
            <a:srgbClr val="F26B43"/>
          </p15:clr>
        </p15:guide>
        <p15:guide id="25" pos="4294" userDrawn="1">
          <p15:clr>
            <a:srgbClr val="F26B43"/>
          </p15:clr>
        </p15:guide>
        <p15:guide id="26" pos="4520" userDrawn="1">
          <p15:clr>
            <a:srgbClr val="F26B43"/>
          </p15:clr>
        </p15:guide>
        <p15:guide id="27" pos="4747" userDrawn="1">
          <p15:clr>
            <a:srgbClr val="F26B43"/>
          </p15:clr>
        </p15:guide>
        <p15:guide id="28" pos="4974" userDrawn="1">
          <p15:clr>
            <a:srgbClr val="F26B43"/>
          </p15:clr>
        </p15:guide>
        <p15:guide id="29" pos="5201" userDrawn="1">
          <p15:clr>
            <a:srgbClr val="F26B43"/>
          </p15:clr>
        </p15:guide>
        <p15:guide id="30" pos="5428" userDrawn="1">
          <p15:clr>
            <a:srgbClr val="F26B43"/>
          </p15:clr>
        </p15:guide>
        <p15:guide id="31" pos="5654" userDrawn="1">
          <p15:clr>
            <a:srgbClr val="F26B43"/>
          </p15:clr>
        </p15:guide>
        <p15:guide id="32" pos="5881" userDrawn="1">
          <p15:clr>
            <a:srgbClr val="F26B43"/>
          </p15:clr>
        </p15:guide>
        <p15:guide id="33" pos="6108" userDrawn="1">
          <p15:clr>
            <a:srgbClr val="F26B43"/>
          </p15:clr>
        </p15:guide>
        <p15:guide id="34" pos="6335" userDrawn="1">
          <p15:clr>
            <a:srgbClr val="F26B43"/>
          </p15:clr>
        </p15:guide>
        <p15:guide id="35" pos="6562" userDrawn="1">
          <p15:clr>
            <a:srgbClr val="F26B43"/>
          </p15:clr>
        </p15:guide>
        <p15:guide id="36" pos="6788" userDrawn="1">
          <p15:clr>
            <a:srgbClr val="F26B43"/>
          </p15:clr>
        </p15:guide>
        <p15:guide id="37" pos="7015" userDrawn="1">
          <p15:clr>
            <a:srgbClr val="F26B43"/>
          </p15:clr>
        </p15:guide>
        <p15:guide id="38" pos="7242" userDrawn="1">
          <p15:clr>
            <a:srgbClr val="F26B43"/>
          </p15:clr>
        </p15:guide>
        <p15:guide id="39" pos="7469" userDrawn="1">
          <p15:clr>
            <a:srgbClr val="F26B43"/>
          </p15:clr>
        </p15:guide>
        <p15:guide id="40" orient="horz" pos="1933" userDrawn="1">
          <p15:clr>
            <a:srgbClr val="F26B43"/>
          </p15:clr>
        </p15:guide>
        <p15:guide id="41" orient="horz" pos="1706" userDrawn="1">
          <p15:clr>
            <a:srgbClr val="F26B43"/>
          </p15:clr>
        </p15:guide>
        <p15:guide id="42" orient="horz" pos="1480" userDrawn="1">
          <p15:clr>
            <a:srgbClr val="F26B43"/>
          </p15:clr>
        </p15:guide>
        <p15:guide id="43" orient="horz" pos="1253" userDrawn="1">
          <p15:clr>
            <a:srgbClr val="F26B43"/>
          </p15:clr>
        </p15:guide>
        <p15:guide id="44" orient="horz" pos="1026" userDrawn="1">
          <p15:clr>
            <a:srgbClr val="F26B43"/>
          </p15:clr>
        </p15:guide>
        <p15:guide id="45" orient="horz" pos="799" userDrawn="1">
          <p15:clr>
            <a:srgbClr val="F26B43"/>
          </p15:clr>
        </p15:guide>
        <p15:guide id="46" orient="horz" pos="572" userDrawn="1">
          <p15:clr>
            <a:srgbClr val="F26B43"/>
          </p15:clr>
        </p15:guide>
        <p15:guide id="47" orient="horz" pos="346" userDrawn="1">
          <p15:clr>
            <a:srgbClr val="F26B43"/>
          </p15:clr>
        </p15:guide>
        <p15:guide id="48" orient="horz" pos="119" userDrawn="1">
          <p15:clr>
            <a:srgbClr val="F26B43"/>
          </p15:clr>
        </p15:guide>
        <p15:guide id="49" orient="horz" pos="2387" userDrawn="1">
          <p15:clr>
            <a:srgbClr val="F26B43"/>
          </p15:clr>
        </p15:guide>
        <p15:guide id="50" orient="horz" pos="2614" userDrawn="1">
          <p15:clr>
            <a:srgbClr val="F26B43"/>
          </p15:clr>
        </p15:guide>
        <p15:guide id="51" orient="horz" pos="2840" userDrawn="1">
          <p15:clr>
            <a:srgbClr val="F26B43"/>
          </p15:clr>
        </p15:guide>
        <p15:guide id="52" orient="horz" pos="3067" userDrawn="1">
          <p15:clr>
            <a:srgbClr val="F26B43"/>
          </p15:clr>
        </p15:guide>
        <p15:guide id="53" orient="horz" pos="3294" userDrawn="1">
          <p15:clr>
            <a:srgbClr val="F26B43"/>
          </p15:clr>
        </p15:guide>
        <p15:guide id="54" orient="horz" pos="3521" userDrawn="1">
          <p15:clr>
            <a:srgbClr val="F26B43"/>
          </p15:clr>
        </p15:guide>
        <p15:guide id="55" orient="horz" pos="3748" userDrawn="1">
          <p15:clr>
            <a:srgbClr val="F26B43"/>
          </p15:clr>
        </p15:guide>
        <p15:guide id="56" orient="horz" pos="3974" userDrawn="1">
          <p15:clr>
            <a:srgbClr val="F26B43"/>
          </p15:clr>
        </p15:guide>
        <p15:guide id="57" orient="horz" pos="4201" userDrawn="1">
          <p15:clr>
            <a:srgbClr val="F26B43"/>
          </p15:clr>
        </p15:guide>
        <p15:guide id="58" pos="325" userDrawn="1">
          <p15:clr>
            <a:srgbClr val="F26B43"/>
          </p15:clr>
        </p15:guide>
        <p15:guide id="59" pos="7355" userDrawn="1">
          <p15:clr>
            <a:srgbClr val="F26B43"/>
          </p15:clr>
        </p15:guide>
        <p15:guide id="60" orient="horz" pos="40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A764AE-908B-4569-9C88-BC4AF5B58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08720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3" name="Diapositiva de think-cell" r:id="rId10" imgW="410" imgH="409" progId="TCLayout.ActiveDocument.1">
                  <p:embed/>
                </p:oleObj>
              </mc:Choice>
              <mc:Fallback>
                <p:oleObj name="Diapositiva de think-cell" r:id="rId10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A764AE-908B-4569-9C88-BC4AF5B58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683" y="154172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el </a:t>
            </a:r>
            <a:r>
              <a:rPr lang="en-GB" err="1"/>
              <a:t>estilo</a:t>
            </a:r>
            <a:r>
              <a:rPr lang="en-GB"/>
              <a:t> de </a:t>
            </a:r>
            <a:r>
              <a:rPr lang="en-GB" err="1"/>
              <a:t>título</a:t>
            </a:r>
            <a:r>
              <a:rPr lang="en-GB"/>
              <a:t> del </a:t>
            </a:r>
            <a:r>
              <a:rPr lang="en-GB" err="1"/>
              <a:t>patrónz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300" y="3389715"/>
            <a:ext cx="10515600" cy="21805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los </a:t>
            </a:r>
            <a:r>
              <a:rPr lang="en-GB" err="1"/>
              <a:t>estilos</a:t>
            </a:r>
            <a:r>
              <a:rPr lang="en-GB"/>
              <a:t> de </a:t>
            </a:r>
            <a:r>
              <a:rPr lang="en-GB" err="1"/>
              <a:t>text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  <a:p>
            <a:pPr lvl="1"/>
            <a:r>
              <a:rPr lang="en-GB"/>
              <a:t>Segundo </a:t>
            </a:r>
            <a:r>
              <a:rPr lang="en-GB" err="1"/>
              <a:t>nivel</a:t>
            </a:r>
            <a:endParaRPr lang="en-GB"/>
          </a:p>
          <a:p>
            <a:pPr lvl="2"/>
            <a:r>
              <a:rPr lang="en-GB"/>
              <a:t>Tercer </a:t>
            </a:r>
            <a:r>
              <a:rPr lang="en-GB" err="1"/>
              <a:t>nivel</a:t>
            </a:r>
            <a:endParaRPr lang="en-GB"/>
          </a:p>
          <a:p>
            <a:pPr lvl="3"/>
            <a:r>
              <a:rPr lang="en-GB"/>
              <a:t>Cuarto </a:t>
            </a:r>
            <a:r>
              <a:rPr lang="en-GB" err="1"/>
              <a:t>nivel</a:t>
            </a:r>
            <a:endParaRPr lang="en-GB"/>
          </a:p>
          <a:p>
            <a:pPr lvl="4"/>
            <a:r>
              <a:rPr lang="en-GB"/>
              <a:t>Quinto </a:t>
            </a:r>
            <a:r>
              <a:rPr lang="en-GB" err="1"/>
              <a:t>nivel</a:t>
            </a:r>
            <a:endParaRPr lang="en-GB"/>
          </a:p>
        </p:txBody>
      </p:sp>
      <p:sp>
        <p:nvSpPr>
          <p:cNvPr id="6" name="MSIPCMContentMarking" descr="{&quot;HashCode&quot;:1696608652,&quot;Placement&quot;:&quot;Footer&quot;,&quot;Top&quot;:515.826355,&quot;Left&quot;:0.0,&quot;SlideWidth&quot;:960,&quot;SlideHeight&quot;:540}">
            <a:extLst>
              <a:ext uri="{FF2B5EF4-FFF2-40B4-BE49-F238E27FC236}">
                <a16:creationId xmlns:a16="http://schemas.microsoft.com/office/drawing/2014/main" id="{DFD151D4-7C50-406B-9C00-A83C9D047099}"/>
              </a:ext>
            </a:extLst>
          </p:cNvPr>
          <p:cNvSpPr txBox="1"/>
          <p:nvPr userDrawn="1"/>
        </p:nvSpPr>
        <p:spPr>
          <a:xfrm>
            <a:off x="0" y="6550995"/>
            <a:ext cx="3088690" cy="3070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ES" sz="700">
                <a:solidFill>
                  <a:srgbClr val="000000"/>
                </a:solidFill>
                <a:latin typeface="Arial" panose="020B0604020202020204" pitchFamily="34" charset="0"/>
              </a:rPr>
              <a:t>***Este documento está clasificado como PUBLICO por TELEFÓNICA.
***This document is classified as PUBLIC by TELEFÓNICA.</a:t>
            </a:r>
          </a:p>
        </p:txBody>
      </p:sp>
    </p:spTree>
    <p:extLst>
      <p:ext uri="{BB962C8B-B14F-4D97-AF65-F5344CB8AC3E}">
        <p14:creationId xmlns:p14="http://schemas.microsoft.com/office/powerpoint/2010/main" val="2817336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3" r:id="rId3"/>
    <p:sldLayoutId id="2147483660" r:id="rId4"/>
    <p:sldLayoutId id="2147483661" r:id="rId5"/>
    <p:sldLayoutId id="2147483662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613" userDrawn="1">
          <p15:clr>
            <a:srgbClr val="F26B43"/>
          </p15:clr>
        </p15:guide>
        <p15:guide id="9" pos="3386" userDrawn="1">
          <p15:clr>
            <a:srgbClr val="F26B43"/>
          </p15:clr>
        </p15:guide>
        <p15:guide id="10" pos="3160" userDrawn="1">
          <p15:clr>
            <a:srgbClr val="F26B43"/>
          </p15:clr>
        </p15:guide>
        <p15:guide id="11" pos="2933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2479" userDrawn="1">
          <p15:clr>
            <a:srgbClr val="F26B43"/>
          </p15:clr>
        </p15:guide>
        <p15:guide id="14" pos="2252" userDrawn="1">
          <p15:clr>
            <a:srgbClr val="F26B43"/>
          </p15:clr>
        </p15:guide>
        <p15:guide id="15" pos="2026" userDrawn="1">
          <p15:clr>
            <a:srgbClr val="F26B43"/>
          </p15:clr>
        </p15:guide>
        <p15:guide id="16" pos="1572" userDrawn="1">
          <p15:clr>
            <a:srgbClr val="F26B43"/>
          </p15:clr>
        </p15:guide>
        <p15:guide id="17" pos="1345" userDrawn="1">
          <p15:clr>
            <a:srgbClr val="F26B43"/>
          </p15:clr>
        </p15:guide>
        <p15:guide id="18" pos="1799" userDrawn="1">
          <p15:clr>
            <a:srgbClr val="F26B43"/>
          </p15:clr>
        </p15:guide>
        <p15:guide id="19" pos="1118" userDrawn="1">
          <p15:clr>
            <a:srgbClr val="F26B43"/>
          </p15:clr>
        </p15:guide>
        <p15:guide id="20" pos="892" userDrawn="1">
          <p15:clr>
            <a:srgbClr val="F26B43"/>
          </p15:clr>
        </p15:guide>
        <p15:guide id="21" pos="665" userDrawn="1">
          <p15:clr>
            <a:srgbClr val="F26B43"/>
          </p15:clr>
        </p15:guide>
        <p15:guide id="22" pos="438" userDrawn="1">
          <p15:clr>
            <a:srgbClr val="F26B43"/>
          </p15:clr>
        </p15:guide>
        <p15:guide id="23" pos="211" userDrawn="1">
          <p15:clr>
            <a:srgbClr val="F26B43"/>
          </p15:clr>
        </p15:guide>
        <p15:guide id="24" pos="4067" userDrawn="1">
          <p15:clr>
            <a:srgbClr val="F26B43"/>
          </p15:clr>
        </p15:guide>
        <p15:guide id="25" pos="4294" userDrawn="1">
          <p15:clr>
            <a:srgbClr val="F26B43"/>
          </p15:clr>
        </p15:guide>
        <p15:guide id="26" pos="4520" userDrawn="1">
          <p15:clr>
            <a:srgbClr val="F26B43"/>
          </p15:clr>
        </p15:guide>
        <p15:guide id="27" pos="4747" userDrawn="1">
          <p15:clr>
            <a:srgbClr val="F26B43"/>
          </p15:clr>
        </p15:guide>
        <p15:guide id="28" pos="4974" userDrawn="1">
          <p15:clr>
            <a:srgbClr val="F26B43"/>
          </p15:clr>
        </p15:guide>
        <p15:guide id="29" pos="5201" userDrawn="1">
          <p15:clr>
            <a:srgbClr val="F26B43"/>
          </p15:clr>
        </p15:guide>
        <p15:guide id="30" pos="5428" userDrawn="1">
          <p15:clr>
            <a:srgbClr val="F26B43"/>
          </p15:clr>
        </p15:guide>
        <p15:guide id="31" pos="5654" userDrawn="1">
          <p15:clr>
            <a:srgbClr val="F26B43"/>
          </p15:clr>
        </p15:guide>
        <p15:guide id="32" pos="5881" userDrawn="1">
          <p15:clr>
            <a:srgbClr val="F26B43"/>
          </p15:clr>
        </p15:guide>
        <p15:guide id="33" pos="6108" userDrawn="1">
          <p15:clr>
            <a:srgbClr val="F26B43"/>
          </p15:clr>
        </p15:guide>
        <p15:guide id="34" pos="6335" userDrawn="1">
          <p15:clr>
            <a:srgbClr val="F26B43"/>
          </p15:clr>
        </p15:guide>
        <p15:guide id="35" pos="6562" userDrawn="1">
          <p15:clr>
            <a:srgbClr val="F26B43"/>
          </p15:clr>
        </p15:guide>
        <p15:guide id="36" pos="6788" userDrawn="1">
          <p15:clr>
            <a:srgbClr val="F26B43"/>
          </p15:clr>
        </p15:guide>
        <p15:guide id="37" pos="7015" userDrawn="1">
          <p15:clr>
            <a:srgbClr val="F26B43"/>
          </p15:clr>
        </p15:guide>
        <p15:guide id="38" pos="7242" userDrawn="1">
          <p15:clr>
            <a:srgbClr val="F26B43"/>
          </p15:clr>
        </p15:guide>
        <p15:guide id="39" pos="7469" userDrawn="1">
          <p15:clr>
            <a:srgbClr val="F26B43"/>
          </p15:clr>
        </p15:guide>
        <p15:guide id="40" orient="horz" pos="1933" userDrawn="1">
          <p15:clr>
            <a:srgbClr val="F26B43"/>
          </p15:clr>
        </p15:guide>
        <p15:guide id="41" orient="horz" pos="1706" userDrawn="1">
          <p15:clr>
            <a:srgbClr val="F26B43"/>
          </p15:clr>
        </p15:guide>
        <p15:guide id="42" orient="horz" pos="1480" userDrawn="1">
          <p15:clr>
            <a:srgbClr val="F26B43"/>
          </p15:clr>
        </p15:guide>
        <p15:guide id="43" orient="horz" pos="1253" userDrawn="1">
          <p15:clr>
            <a:srgbClr val="F26B43"/>
          </p15:clr>
        </p15:guide>
        <p15:guide id="44" orient="horz" pos="1026" userDrawn="1">
          <p15:clr>
            <a:srgbClr val="F26B43"/>
          </p15:clr>
        </p15:guide>
        <p15:guide id="45" orient="horz" pos="799" userDrawn="1">
          <p15:clr>
            <a:srgbClr val="F26B43"/>
          </p15:clr>
        </p15:guide>
        <p15:guide id="46" orient="horz" pos="572" userDrawn="1">
          <p15:clr>
            <a:srgbClr val="F26B43"/>
          </p15:clr>
        </p15:guide>
        <p15:guide id="47" orient="horz" pos="346" userDrawn="1">
          <p15:clr>
            <a:srgbClr val="F26B43"/>
          </p15:clr>
        </p15:guide>
        <p15:guide id="48" orient="horz" pos="119" userDrawn="1">
          <p15:clr>
            <a:srgbClr val="F26B43"/>
          </p15:clr>
        </p15:guide>
        <p15:guide id="49" orient="horz" pos="2387" userDrawn="1">
          <p15:clr>
            <a:srgbClr val="F26B43"/>
          </p15:clr>
        </p15:guide>
        <p15:guide id="50" orient="horz" pos="2614" userDrawn="1">
          <p15:clr>
            <a:srgbClr val="F26B43"/>
          </p15:clr>
        </p15:guide>
        <p15:guide id="51" orient="horz" pos="2840" userDrawn="1">
          <p15:clr>
            <a:srgbClr val="F26B43"/>
          </p15:clr>
        </p15:guide>
        <p15:guide id="52" orient="horz" pos="3067" userDrawn="1">
          <p15:clr>
            <a:srgbClr val="F26B43"/>
          </p15:clr>
        </p15:guide>
        <p15:guide id="53" orient="horz" pos="3294" userDrawn="1">
          <p15:clr>
            <a:srgbClr val="F26B43"/>
          </p15:clr>
        </p15:guide>
        <p15:guide id="54" orient="horz" pos="3521" userDrawn="1">
          <p15:clr>
            <a:srgbClr val="F26B43"/>
          </p15:clr>
        </p15:guide>
        <p15:guide id="55" orient="horz" pos="3748" userDrawn="1">
          <p15:clr>
            <a:srgbClr val="F26B43"/>
          </p15:clr>
        </p15:guide>
        <p15:guide id="56" orient="horz" pos="3974" userDrawn="1">
          <p15:clr>
            <a:srgbClr val="F26B43"/>
          </p15:clr>
        </p15:guide>
        <p15:guide id="57" orient="horz" pos="4201" userDrawn="1">
          <p15:clr>
            <a:srgbClr val="F26B43"/>
          </p15:clr>
        </p15:guide>
        <p15:guide id="58" pos="325" userDrawn="1">
          <p15:clr>
            <a:srgbClr val="F26B43"/>
          </p15:clr>
        </p15:guide>
        <p15:guide id="59" pos="735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B7F9C4-58A1-4B5F-A42C-14340DB4C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830738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" name="Diapositiva de think-cell" r:id="rId28" imgW="410" imgH="409" progId="TCLayout.ActiveDocument.1">
                  <p:embed/>
                </p:oleObj>
              </mc:Choice>
              <mc:Fallback>
                <p:oleObj name="Diapositiva de think-cell" r:id="rId28" imgW="410" imgH="40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B7F9C4-58A1-4B5F-A42C-14340DB4C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34" y="624928"/>
            <a:ext cx="2774901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el </a:t>
            </a:r>
            <a:r>
              <a:rPr lang="en-GB" err="1"/>
              <a:t>estilo</a:t>
            </a:r>
            <a:r>
              <a:rPr lang="en-GB"/>
              <a:t> de </a:t>
            </a:r>
            <a:r>
              <a:rPr lang="en-GB" err="1"/>
              <a:t>títul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3659" y="3389715"/>
            <a:ext cx="10515600" cy="2180575"/>
          </a:xfrm>
          <a:prstGeom prst="rect">
            <a:avLst/>
          </a:prstGeom>
        </p:spPr>
        <p:txBody>
          <a:bodyPr vert="horz" lIns="91440" tIns="45720" rIns="91440" bIns="45720" numCol="1" rtlCol="0" anchor="t">
            <a:normAutofit/>
          </a:bodyPr>
          <a:lstStyle/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los </a:t>
            </a:r>
            <a:r>
              <a:rPr lang="en-GB" err="1"/>
              <a:t>estilos</a:t>
            </a:r>
            <a:r>
              <a:rPr lang="en-GB"/>
              <a:t> de </a:t>
            </a:r>
            <a:r>
              <a:rPr lang="en-GB" err="1"/>
              <a:t>text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  <a:p>
            <a:pPr lvl="1"/>
            <a:r>
              <a:rPr lang="en-GB"/>
              <a:t>Segundo </a:t>
            </a:r>
            <a:r>
              <a:rPr lang="en-GB" err="1"/>
              <a:t>nivel</a:t>
            </a:r>
            <a:endParaRPr lang="en-GB"/>
          </a:p>
          <a:p>
            <a:pPr lvl="2"/>
            <a:r>
              <a:rPr lang="en-GB"/>
              <a:t>Tercer </a:t>
            </a:r>
            <a:r>
              <a:rPr lang="en-GB" err="1"/>
              <a:t>nivel</a:t>
            </a:r>
            <a:endParaRPr lang="en-GB"/>
          </a:p>
          <a:p>
            <a:pPr lvl="3"/>
            <a:r>
              <a:rPr lang="en-GB"/>
              <a:t>Cuarto </a:t>
            </a:r>
            <a:r>
              <a:rPr lang="en-GB" err="1"/>
              <a:t>nivel</a:t>
            </a:r>
            <a:endParaRPr lang="en-GB"/>
          </a:p>
          <a:p>
            <a:pPr lvl="4"/>
            <a:r>
              <a:rPr lang="en-GB"/>
              <a:t>Quinto </a:t>
            </a:r>
            <a:r>
              <a:rPr lang="en-GB" err="1"/>
              <a:t>nivel</a:t>
            </a:r>
            <a:endParaRPr lang="en-GB"/>
          </a:p>
        </p:txBody>
      </p:sp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698C4985-D042-A04D-9E87-4E855F3365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MSIPCMContentMarking" descr="{&quot;HashCode&quot;:1696608652,&quot;Placement&quot;:&quot;Footer&quot;,&quot;Top&quot;:515.826355,&quot;Left&quot;:0.0,&quot;SlideWidth&quot;:960,&quot;SlideHeight&quot;:540}">
            <a:extLst>
              <a:ext uri="{FF2B5EF4-FFF2-40B4-BE49-F238E27FC236}">
                <a16:creationId xmlns:a16="http://schemas.microsoft.com/office/drawing/2014/main" id="{079642B4-80AA-4628-B068-6A558EFA8333}"/>
              </a:ext>
            </a:extLst>
          </p:cNvPr>
          <p:cNvSpPr txBox="1"/>
          <p:nvPr userDrawn="1"/>
        </p:nvSpPr>
        <p:spPr>
          <a:xfrm>
            <a:off x="0" y="6550995"/>
            <a:ext cx="3088690" cy="3070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ES" sz="700">
                <a:solidFill>
                  <a:srgbClr val="000000"/>
                </a:solidFill>
                <a:latin typeface="Arial" panose="020B0604020202020204" pitchFamily="34" charset="0"/>
              </a:rPr>
              <a:t>***Este documento está clasificado como PUBLICO por TELEFÓNICA.
***This document is classified as PUBLIC by TELEFÓNICA.</a:t>
            </a:r>
          </a:p>
        </p:txBody>
      </p:sp>
    </p:spTree>
    <p:extLst>
      <p:ext uri="{BB962C8B-B14F-4D97-AF65-F5344CB8AC3E}">
        <p14:creationId xmlns:p14="http://schemas.microsoft.com/office/powerpoint/2010/main" val="153910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702" r:id="rId2"/>
    <p:sldLayoutId id="2147483683" r:id="rId3"/>
    <p:sldLayoutId id="2147483694" r:id="rId4"/>
    <p:sldLayoutId id="2147483695" r:id="rId5"/>
    <p:sldLayoutId id="2147483684" r:id="rId6"/>
    <p:sldLayoutId id="2147483704" r:id="rId7"/>
    <p:sldLayoutId id="2147483685" r:id="rId8"/>
    <p:sldLayoutId id="2147483686" r:id="rId9"/>
    <p:sldLayoutId id="2147483701" r:id="rId10"/>
    <p:sldLayoutId id="2147483688" r:id="rId11"/>
    <p:sldLayoutId id="2147483689" r:id="rId12"/>
    <p:sldLayoutId id="2147483690" r:id="rId13"/>
    <p:sldLayoutId id="2147483696" r:id="rId14"/>
    <p:sldLayoutId id="2147483703" r:id="rId15"/>
    <p:sldLayoutId id="2147483697" r:id="rId16"/>
    <p:sldLayoutId id="2147483692" r:id="rId17"/>
    <p:sldLayoutId id="2147483705" r:id="rId18"/>
    <p:sldLayoutId id="2147483693" r:id="rId19"/>
    <p:sldLayoutId id="2147483698" r:id="rId20"/>
    <p:sldLayoutId id="2147483699" r:id="rId21"/>
    <p:sldLayoutId id="2147483752" r:id="rId22"/>
    <p:sldLayoutId id="2147483753" r:id="rId23"/>
    <p:sldLayoutId id="2147483776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613" userDrawn="1">
          <p15:clr>
            <a:srgbClr val="F26B43"/>
          </p15:clr>
        </p15:guide>
        <p15:guide id="9" pos="3386" userDrawn="1">
          <p15:clr>
            <a:srgbClr val="F26B43"/>
          </p15:clr>
        </p15:guide>
        <p15:guide id="10" pos="3160" userDrawn="1">
          <p15:clr>
            <a:srgbClr val="F26B43"/>
          </p15:clr>
        </p15:guide>
        <p15:guide id="11" pos="2933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2479" userDrawn="1">
          <p15:clr>
            <a:srgbClr val="F26B43"/>
          </p15:clr>
        </p15:guide>
        <p15:guide id="14" pos="2252" userDrawn="1">
          <p15:clr>
            <a:srgbClr val="F26B43"/>
          </p15:clr>
        </p15:guide>
        <p15:guide id="15" pos="2026" userDrawn="1">
          <p15:clr>
            <a:srgbClr val="F26B43"/>
          </p15:clr>
        </p15:guide>
        <p15:guide id="16" pos="1572" userDrawn="1">
          <p15:clr>
            <a:srgbClr val="F26B43"/>
          </p15:clr>
        </p15:guide>
        <p15:guide id="17" pos="1345" userDrawn="1">
          <p15:clr>
            <a:srgbClr val="F26B43"/>
          </p15:clr>
        </p15:guide>
        <p15:guide id="18" pos="1799" userDrawn="1">
          <p15:clr>
            <a:srgbClr val="F26B43"/>
          </p15:clr>
        </p15:guide>
        <p15:guide id="19" pos="1118" userDrawn="1">
          <p15:clr>
            <a:srgbClr val="F26B43"/>
          </p15:clr>
        </p15:guide>
        <p15:guide id="20" pos="892" userDrawn="1">
          <p15:clr>
            <a:srgbClr val="F26B43"/>
          </p15:clr>
        </p15:guide>
        <p15:guide id="21" pos="665" userDrawn="1">
          <p15:clr>
            <a:srgbClr val="F26B43"/>
          </p15:clr>
        </p15:guide>
        <p15:guide id="22" pos="438" userDrawn="1">
          <p15:clr>
            <a:srgbClr val="F26B43"/>
          </p15:clr>
        </p15:guide>
        <p15:guide id="23" pos="211" userDrawn="1">
          <p15:clr>
            <a:srgbClr val="F26B43"/>
          </p15:clr>
        </p15:guide>
        <p15:guide id="24" pos="4067" userDrawn="1">
          <p15:clr>
            <a:srgbClr val="F26B43"/>
          </p15:clr>
        </p15:guide>
        <p15:guide id="25" pos="4294" userDrawn="1">
          <p15:clr>
            <a:srgbClr val="F26B43"/>
          </p15:clr>
        </p15:guide>
        <p15:guide id="26" pos="4520" userDrawn="1">
          <p15:clr>
            <a:srgbClr val="F26B43"/>
          </p15:clr>
        </p15:guide>
        <p15:guide id="27" pos="4747" userDrawn="1">
          <p15:clr>
            <a:srgbClr val="F26B43"/>
          </p15:clr>
        </p15:guide>
        <p15:guide id="28" pos="4974" userDrawn="1">
          <p15:clr>
            <a:srgbClr val="F26B43"/>
          </p15:clr>
        </p15:guide>
        <p15:guide id="29" pos="5201" userDrawn="1">
          <p15:clr>
            <a:srgbClr val="F26B43"/>
          </p15:clr>
        </p15:guide>
        <p15:guide id="30" pos="5428" userDrawn="1">
          <p15:clr>
            <a:srgbClr val="F26B43"/>
          </p15:clr>
        </p15:guide>
        <p15:guide id="31" pos="5654" userDrawn="1">
          <p15:clr>
            <a:srgbClr val="F26B43"/>
          </p15:clr>
        </p15:guide>
        <p15:guide id="32" pos="5881" userDrawn="1">
          <p15:clr>
            <a:srgbClr val="F26B43"/>
          </p15:clr>
        </p15:guide>
        <p15:guide id="33" pos="6108" userDrawn="1">
          <p15:clr>
            <a:srgbClr val="F26B43"/>
          </p15:clr>
        </p15:guide>
        <p15:guide id="34" pos="6335" userDrawn="1">
          <p15:clr>
            <a:srgbClr val="F26B43"/>
          </p15:clr>
        </p15:guide>
        <p15:guide id="35" pos="6562" userDrawn="1">
          <p15:clr>
            <a:srgbClr val="F26B43"/>
          </p15:clr>
        </p15:guide>
        <p15:guide id="36" pos="6788" userDrawn="1">
          <p15:clr>
            <a:srgbClr val="F26B43"/>
          </p15:clr>
        </p15:guide>
        <p15:guide id="37" pos="7015" userDrawn="1">
          <p15:clr>
            <a:srgbClr val="F26B43"/>
          </p15:clr>
        </p15:guide>
        <p15:guide id="38" pos="7242" userDrawn="1">
          <p15:clr>
            <a:srgbClr val="F26B43"/>
          </p15:clr>
        </p15:guide>
        <p15:guide id="39" pos="7469" userDrawn="1">
          <p15:clr>
            <a:srgbClr val="F26B43"/>
          </p15:clr>
        </p15:guide>
        <p15:guide id="40" orient="horz" pos="1933" userDrawn="1">
          <p15:clr>
            <a:srgbClr val="F26B43"/>
          </p15:clr>
        </p15:guide>
        <p15:guide id="41" orient="horz" pos="1706" userDrawn="1">
          <p15:clr>
            <a:srgbClr val="F26B43"/>
          </p15:clr>
        </p15:guide>
        <p15:guide id="42" orient="horz" pos="1480" userDrawn="1">
          <p15:clr>
            <a:srgbClr val="F26B43"/>
          </p15:clr>
        </p15:guide>
        <p15:guide id="43" orient="horz" pos="1253" userDrawn="1">
          <p15:clr>
            <a:srgbClr val="F26B43"/>
          </p15:clr>
        </p15:guide>
        <p15:guide id="44" orient="horz" pos="1026" userDrawn="1">
          <p15:clr>
            <a:srgbClr val="F26B43"/>
          </p15:clr>
        </p15:guide>
        <p15:guide id="45" orient="horz" pos="799" userDrawn="1">
          <p15:clr>
            <a:srgbClr val="F26B43"/>
          </p15:clr>
        </p15:guide>
        <p15:guide id="46" orient="horz" pos="572" userDrawn="1">
          <p15:clr>
            <a:srgbClr val="F26B43"/>
          </p15:clr>
        </p15:guide>
        <p15:guide id="47" orient="horz" pos="346" userDrawn="1">
          <p15:clr>
            <a:srgbClr val="F26B43"/>
          </p15:clr>
        </p15:guide>
        <p15:guide id="48" orient="horz" pos="119" userDrawn="1">
          <p15:clr>
            <a:srgbClr val="F26B43"/>
          </p15:clr>
        </p15:guide>
        <p15:guide id="49" orient="horz" pos="2387" userDrawn="1">
          <p15:clr>
            <a:srgbClr val="F26B43"/>
          </p15:clr>
        </p15:guide>
        <p15:guide id="50" orient="horz" pos="2614" userDrawn="1">
          <p15:clr>
            <a:srgbClr val="F26B43"/>
          </p15:clr>
        </p15:guide>
        <p15:guide id="51" orient="horz" pos="2840" userDrawn="1">
          <p15:clr>
            <a:srgbClr val="F26B43"/>
          </p15:clr>
        </p15:guide>
        <p15:guide id="52" orient="horz" pos="3067" userDrawn="1">
          <p15:clr>
            <a:srgbClr val="F26B43"/>
          </p15:clr>
        </p15:guide>
        <p15:guide id="53" orient="horz" pos="3294" userDrawn="1">
          <p15:clr>
            <a:srgbClr val="F26B43"/>
          </p15:clr>
        </p15:guide>
        <p15:guide id="54" orient="horz" pos="3521" userDrawn="1">
          <p15:clr>
            <a:srgbClr val="F26B43"/>
          </p15:clr>
        </p15:guide>
        <p15:guide id="55" orient="horz" pos="3748" userDrawn="1">
          <p15:clr>
            <a:srgbClr val="F26B43"/>
          </p15:clr>
        </p15:guide>
        <p15:guide id="56" orient="horz" pos="3974" userDrawn="1">
          <p15:clr>
            <a:srgbClr val="F26B43"/>
          </p15:clr>
        </p15:guide>
        <p15:guide id="57" orient="horz" pos="4201" userDrawn="1">
          <p15:clr>
            <a:srgbClr val="F26B43"/>
          </p15:clr>
        </p15:guide>
        <p15:guide id="58" pos="325" userDrawn="1">
          <p15:clr>
            <a:srgbClr val="F26B43"/>
          </p15:clr>
        </p15:guide>
        <p15:guide id="59" pos="7355" userDrawn="1">
          <p15:clr>
            <a:srgbClr val="F26B43"/>
          </p15:clr>
        </p15:guide>
        <p15:guide id="60" pos="3795" userDrawn="1">
          <p15:clr>
            <a:srgbClr val="F26B43"/>
          </p15:clr>
        </p15:guide>
        <p15:guide id="61" pos="3885" userDrawn="1">
          <p15:clr>
            <a:srgbClr val="F26B43"/>
          </p15:clr>
        </p15:guide>
        <p15:guide id="62" orient="horz" pos="408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0BB3C5-BC1B-412E-AB22-8177A20FE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7040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3" name="Diapositiva de think-cell" r:id="rId5" imgW="410" imgH="409" progId="TCLayout.ActiveDocument.1">
                  <p:embed/>
                </p:oleObj>
              </mc:Choice>
              <mc:Fallback>
                <p:oleObj name="Diapositiva de think-cell" r:id="rId5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0BB3C5-BC1B-412E-AB22-8177A20FE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89" y="154172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el </a:t>
            </a:r>
            <a:r>
              <a:rPr lang="en-GB" err="1"/>
              <a:t>estilo</a:t>
            </a:r>
            <a:r>
              <a:rPr lang="en-GB"/>
              <a:t> de </a:t>
            </a:r>
            <a:r>
              <a:rPr lang="en-GB" err="1"/>
              <a:t>título</a:t>
            </a:r>
            <a:r>
              <a:rPr lang="en-GB"/>
              <a:t> del </a:t>
            </a:r>
            <a:r>
              <a:rPr lang="en-GB" err="1"/>
              <a:t>patrónz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306" y="338971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los </a:t>
            </a:r>
            <a:r>
              <a:rPr lang="en-GB" err="1"/>
              <a:t>estilos</a:t>
            </a:r>
            <a:r>
              <a:rPr lang="en-GB"/>
              <a:t> de </a:t>
            </a:r>
            <a:r>
              <a:rPr lang="en-GB" err="1"/>
              <a:t>text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  <a:p>
            <a:pPr lvl="1"/>
            <a:r>
              <a:rPr lang="en-GB"/>
              <a:t>Segundo </a:t>
            </a:r>
            <a:r>
              <a:rPr lang="en-GB" err="1"/>
              <a:t>nivel</a:t>
            </a:r>
            <a:endParaRPr lang="en-GB"/>
          </a:p>
          <a:p>
            <a:pPr lvl="2"/>
            <a:r>
              <a:rPr lang="en-GB"/>
              <a:t>Tercer </a:t>
            </a:r>
            <a:r>
              <a:rPr lang="en-GB" err="1"/>
              <a:t>nivel</a:t>
            </a:r>
            <a:endParaRPr lang="en-GB"/>
          </a:p>
          <a:p>
            <a:pPr lvl="3"/>
            <a:r>
              <a:rPr lang="en-GB"/>
              <a:t>Cuarto </a:t>
            </a:r>
            <a:r>
              <a:rPr lang="en-GB" err="1"/>
              <a:t>nivel</a:t>
            </a:r>
            <a:endParaRPr lang="en-GB"/>
          </a:p>
          <a:p>
            <a:pPr lvl="4"/>
            <a:r>
              <a:rPr lang="en-GB"/>
              <a:t>Quinto </a:t>
            </a:r>
            <a:r>
              <a:rPr lang="en-GB" err="1"/>
              <a:t>nivel</a:t>
            </a:r>
            <a:endParaRPr lang="en-GB"/>
          </a:p>
        </p:txBody>
      </p:sp>
      <p:sp>
        <p:nvSpPr>
          <p:cNvPr id="6" name="MSIPCMContentMarking" descr="{&quot;HashCode&quot;:1696608652,&quot;Placement&quot;:&quot;Footer&quot;,&quot;Top&quot;:515.826355,&quot;Left&quot;:0.0,&quot;SlideWidth&quot;:960,&quot;SlideHeight&quot;:540}">
            <a:extLst>
              <a:ext uri="{FF2B5EF4-FFF2-40B4-BE49-F238E27FC236}">
                <a16:creationId xmlns:a16="http://schemas.microsoft.com/office/drawing/2014/main" id="{763242C0-CFE9-4BA5-8329-6E91C0E8D360}"/>
              </a:ext>
            </a:extLst>
          </p:cNvPr>
          <p:cNvSpPr txBox="1"/>
          <p:nvPr userDrawn="1"/>
        </p:nvSpPr>
        <p:spPr>
          <a:xfrm>
            <a:off x="0" y="6550995"/>
            <a:ext cx="3088690" cy="3070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ES" sz="700">
                <a:solidFill>
                  <a:srgbClr val="000000"/>
                </a:solidFill>
                <a:latin typeface="Arial" panose="020B0604020202020204" pitchFamily="34" charset="0"/>
              </a:rPr>
              <a:t>***Este documento está clasificado como PUBLICO por TELEFÓNICA.
***This document is classified as PUBLIC by TELEFÓNICA.</a:t>
            </a:r>
          </a:p>
        </p:txBody>
      </p:sp>
    </p:spTree>
    <p:extLst>
      <p:ext uri="{BB962C8B-B14F-4D97-AF65-F5344CB8AC3E}">
        <p14:creationId xmlns:p14="http://schemas.microsoft.com/office/powerpoint/2010/main" val="2260014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 userDrawn="1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7355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7FE39-5A2E-4AB1-982E-09ED24E06C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72105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7" name="Diapositiva de think-cell" r:id="rId5" imgW="410" imgH="409" progId="TCLayout.ActiveDocument.1">
                  <p:embed/>
                </p:oleObj>
              </mc:Choice>
              <mc:Fallback>
                <p:oleObj name="Diapositiva de think-cell" r:id="rId5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7FE39-5A2E-4AB1-982E-09ED24E06C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89" y="154172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el </a:t>
            </a:r>
            <a:r>
              <a:rPr lang="en-GB" err="1"/>
              <a:t>estilo</a:t>
            </a:r>
            <a:r>
              <a:rPr lang="en-GB"/>
              <a:t> de </a:t>
            </a:r>
            <a:r>
              <a:rPr lang="en-GB" err="1"/>
              <a:t>título</a:t>
            </a:r>
            <a:r>
              <a:rPr lang="en-GB"/>
              <a:t> del </a:t>
            </a:r>
            <a:r>
              <a:rPr lang="en-GB" err="1"/>
              <a:t>patrónz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306" y="338971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los </a:t>
            </a:r>
            <a:r>
              <a:rPr lang="en-GB" err="1"/>
              <a:t>estilos</a:t>
            </a:r>
            <a:r>
              <a:rPr lang="en-GB"/>
              <a:t> de </a:t>
            </a:r>
            <a:r>
              <a:rPr lang="en-GB" err="1"/>
              <a:t>text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  <a:p>
            <a:pPr lvl="1"/>
            <a:r>
              <a:rPr lang="en-GB"/>
              <a:t>Segundo </a:t>
            </a:r>
            <a:r>
              <a:rPr lang="en-GB" err="1"/>
              <a:t>nivel</a:t>
            </a:r>
            <a:endParaRPr lang="en-GB"/>
          </a:p>
          <a:p>
            <a:pPr lvl="2"/>
            <a:r>
              <a:rPr lang="en-GB"/>
              <a:t>Tercer </a:t>
            </a:r>
            <a:r>
              <a:rPr lang="en-GB" err="1"/>
              <a:t>nivel</a:t>
            </a:r>
            <a:endParaRPr lang="en-GB"/>
          </a:p>
          <a:p>
            <a:pPr lvl="3"/>
            <a:r>
              <a:rPr lang="en-GB"/>
              <a:t>Cuarto </a:t>
            </a:r>
            <a:r>
              <a:rPr lang="en-GB" err="1"/>
              <a:t>nivel</a:t>
            </a:r>
            <a:endParaRPr lang="en-GB"/>
          </a:p>
          <a:p>
            <a:pPr lvl="4"/>
            <a:r>
              <a:rPr lang="en-GB"/>
              <a:t>Quinto </a:t>
            </a:r>
            <a:r>
              <a:rPr lang="en-GB" err="1"/>
              <a:t>nivel</a:t>
            </a:r>
            <a:endParaRPr lang="en-GB"/>
          </a:p>
        </p:txBody>
      </p:sp>
      <p:sp>
        <p:nvSpPr>
          <p:cNvPr id="6" name="MSIPCMContentMarking" descr="{&quot;HashCode&quot;:1696608652,&quot;Placement&quot;:&quot;Footer&quot;,&quot;Top&quot;:515.826355,&quot;Left&quot;:0.0,&quot;SlideWidth&quot;:960,&quot;SlideHeight&quot;:540}">
            <a:extLst>
              <a:ext uri="{FF2B5EF4-FFF2-40B4-BE49-F238E27FC236}">
                <a16:creationId xmlns:a16="http://schemas.microsoft.com/office/drawing/2014/main" id="{93C35FB7-1629-4D60-8519-7303DAF35970}"/>
              </a:ext>
            </a:extLst>
          </p:cNvPr>
          <p:cNvSpPr txBox="1"/>
          <p:nvPr userDrawn="1"/>
        </p:nvSpPr>
        <p:spPr>
          <a:xfrm>
            <a:off x="0" y="6550995"/>
            <a:ext cx="3088690" cy="3070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ES" sz="700">
                <a:solidFill>
                  <a:srgbClr val="000000"/>
                </a:solidFill>
                <a:latin typeface="Arial" panose="020B0604020202020204" pitchFamily="34" charset="0"/>
              </a:rPr>
              <a:t>***Este documento está clasificado como PUBLICO por TELEFÓNICA.
***This document is classified as PUBLIC by TELEFÓNICA.</a:t>
            </a:r>
          </a:p>
        </p:txBody>
      </p:sp>
    </p:spTree>
    <p:extLst>
      <p:ext uri="{BB962C8B-B14F-4D97-AF65-F5344CB8AC3E}">
        <p14:creationId xmlns:p14="http://schemas.microsoft.com/office/powerpoint/2010/main" val="2696571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 userDrawn="1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7355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B7F9C4-58A1-4B5F-A42C-14340DB4C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29678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" name="Diapositiva de think-cell" r:id="rId25" imgW="410" imgH="409" progId="TCLayout.ActiveDocument.1">
                  <p:embed/>
                </p:oleObj>
              </mc:Choice>
              <mc:Fallback>
                <p:oleObj name="Diapositiva de think-cell" r:id="rId25" imgW="410" imgH="40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B7F9C4-58A1-4B5F-A42C-14340DB4C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34" y="624928"/>
            <a:ext cx="2774901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el </a:t>
            </a:r>
            <a:r>
              <a:rPr lang="en-GB" err="1"/>
              <a:t>estilo</a:t>
            </a:r>
            <a:r>
              <a:rPr lang="en-GB"/>
              <a:t> de </a:t>
            </a:r>
            <a:r>
              <a:rPr lang="en-GB" err="1"/>
              <a:t>títul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3659" y="3389715"/>
            <a:ext cx="10515600" cy="2180575"/>
          </a:xfrm>
          <a:prstGeom prst="rect">
            <a:avLst/>
          </a:prstGeom>
        </p:spPr>
        <p:txBody>
          <a:bodyPr vert="horz" lIns="91440" tIns="45720" rIns="91440" bIns="45720" numCol="1" rtlCol="0" anchor="t">
            <a:normAutofit/>
          </a:bodyPr>
          <a:lstStyle/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los </a:t>
            </a:r>
            <a:r>
              <a:rPr lang="en-GB" err="1"/>
              <a:t>estilos</a:t>
            </a:r>
            <a:r>
              <a:rPr lang="en-GB"/>
              <a:t> de </a:t>
            </a:r>
            <a:r>
              <a:rPr lang="en-GB" err="1"/>
              <a:t>text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  <a:p>
            <a:pPr lvl="1"/>
            <a:r>
              <a:rPr lang="en-GB"/>
              <a:t>Segundo </a:t>
            </a:r>
            <a:r>
              <a:rPr lang="en-GB" err="1"/>
              <a:t>nivel</a:t>
            </a:r>
            <a:endParaRPr lang="en-GB"/>
          </a:p>
          <a:p>
            <a:pPr lvl="2"/>
            <a:r>
              <a:rPr lang="en-GB"/>
              <a:t>Tercer </a:t>
            </a:r>
            <a:r>
              <a:rPr lang="en-GB" err="1"/>
              <a:t>nivel</a:t>
            </a:r>
            <a:endParaRPr lang="en-GB"/>
          </a:p>
          <a:p>
            <a:pPr lvl="3"/>
            <a:r>
              <a:rPr lang="en-GB"/>
              <a:t>Cuarto </a:t>
            </a:r>
            <a:r>
              <a:rPr lang="en-GB" err="1"/>
              <a:t>nivel</a:t>
            </a:r>
            <a:endParaRPr lang="en-GB"/>
          </a:p>
          <a:p>
            <a:pPr lvl="4"/>
            <a:r>
              <a:rPr lang="en-GB"/>
              <a:t>Quinto </a:t>
            </a:r>
            <a:r>
              <a:rPr lang="en-GB" err="1"/>
              <a:t>nivel</a:t>
            </a:r>
            <a:endParaRPr lang="en-GB"/>
          </a:p>
        </p:txBody>
      </p:sp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698C4985-D042-A04D-9E87-4E855F3365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MSIPCMContentMarking" descr="{&quot;HashCode&quot;:1696608652,&quot;Placement&quot;:&quot;Footer&quot;,&quot;Top&quot;:515.826355,&quot;Left&quot;:0.0,&quot;SlideWidth&quot;:960,&quot;SlideHeight&quot;:540}">
            <a:extLst>
              <a:ext uri="{FF2B5EF4-FFF2-40B4-BE49-F238E27FC236}">
                <a16:creationId xmlns:a16="http://schemas.microsoft.com/office/drawing/2014/main" id="{A9E8EAB9-9789-45D9-814A-1D209F5B180C}"/>
              </a:ext>
            </a:extLst>
          </p:cNvPr>
          <p:cNvSpPr txBox="1"/>
          <p:nvPr userDrawn="1"/>
        </p:nvSpPr>
        <p:spPr>
          <a:xfrm>
            <a:off x="0" y="6550995"/>
            <a:ext cx="3088690" cy="3070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ES" sz="700">
                <a:solidFill>
                  <a:srgbClr val="000000"/>
                </a:solidFill>
                <a:latin typeface="Arial" panose="020B0604020202020204" pitchFamily="34" charset="0"/>
              </a:rPr>
              <a:t>***Este documento está clasificado como PUBLICO por TELEFÓNICA.
***This document is classified as PUBLIC by TELEFÓNICA.</a:t>
            </a:r>
          </a:p>
        </p:txBody>
      </p:sp>
    </p:spTree>
    <p:extLst>
      <p:ext uri="{BB962C8B-B14F-4D97-AF65-F5344CB8AC3E}">
        <p14:creationId xmlns:p14="http://schemas.microsoft.com/office/powerpoint/2010/main" val="2726685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pos="3795">
          <p15:clr>
            <a:srgbClr val="F26B43"/>
          </p15:clr>
        </p15:guide>
        <p15:guide id="61" pos="3885">
          <p15:clr>
            <a:srgbClr val="F26B43"/>
          </p15:clr>
        </p15:guide>
        <p15:guide id="62" orient="horz" pos="408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B7F9C4-58A1-4B5F-A42C-14340DB4C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040049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3" name="Diapositiva de think-cell" r:id="rId25" imgW="410" imgH="409" progId="TCLayout.ActiveDocument.1">
                  <p:embed/>
                </p:oleObj>
              </mc:Choice>
              <mc:Fallback>
                <p:oleObj name="Diapositiva de think-cell" r:id="rId25" imgW="410" imgH="40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B7F9C4-58A1-4B5F-A42C-14340DB4C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34" y="624928"/>
            <a:ext cx="2774901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el </a:t>
            </a:r>
            <a:r>
              <a:rPr lang="en-GB" err="1"/>
              <a:t>estilo</a:t>
            </a:r>
            <a:r>
              <a:rPr lang="en-GB"/>
              <a:t> de </a:t>
            </a:r>
            <a:r>
              <a:rPr lang="en-GB" err="1"/>
              <a:t>títul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3659" y="3389715"/>
            <a:ext cx="10515600" cy="2180575"/>
          </a:xfrm>
          <a:prstGeom prst="rect">
            <a:avLst/>
          </a:prstGeom>
        </p:spPr>
        <p:txBody>
          <a:bodyPr vert="horz" lIns="91440" tIns="45720" rIns="91440" bIns="45720" numCol="1" rtlCol="0" anchor="t">
            <a:normAutofit/>
          </a:bodyPr>
          <a:lstStyle/>
          <a:p>
            <a:pPr lvl="0"/>
            <a:r>
              <a:rPr lang="en-GB" err="1"/>
              <a:t>Haga</a:t>
            </a:r>
            <a:r>
              <a:rPr lang="en-GB"/>
              <a:t> </a:t>
            </a:r>
            <a:r>
              <a:rPr lang="en-GB" err="1"/>
              <a:t>clic</a:t>
            </a:r>
            <a:r>
              <a:rPr lang="en-GB"/>
              <a:t> para </a:t>
            </a:r>
            <a:r>
              <a:rPr lang="en-GB" err="1"/>
              <a:t>modificar</a:t>
            </a:r>
            <a:r>
              <a:rPr lang="en-GB"/>
              <a:t> los </a:t>
            </a:r>
            <a:r>
              <a:rPr lang="en-GB" err="1"/>
              <a:t>estilos</a:t>
            </a:r>
            <a:r>
              <a:rPr lang="en-GB"/>
              <a:t> de </a:t>
            </a:r>
            <a:r>
              <a:rPr lang="en-GB" err="1"/>
              <a:t>texto</a:t>
            </a:r>
            <a:r>
              <a:rPr lang="en-GB"/>
              <a:t> del </a:t>
            </a:r>
            <a:r>
              <a:rPr lang="en-GB" err="1"/>
              <a:t>patrón</a:t>
            </a:r>
            <a:endParaRPr lang="en-GB"/>
          </a:p>
          <a:p>
            <a:pPr lvl="1"/>
            <a:r>
              <a:rPr lang="en-GB"/>
              <a:t>Segundo </a:t>
            </a:r>
            <a:r>
              <a:rPr lang="en-GB" err="1"/>
              <a:t>nivel</a:t>
            </a:r>
            <a:endParaRPr lang="en-GB"/>
          </a:p>
          <a:p>
            <a:pPr lvl="2"/>
            <a:r>
              <a:rPr lang="en-GB"/>
              <a:t>Tercer </a:t>
            </a:r>
            <a:r>
              <a:rPr lang="en-GB" err="1"/>
              <a:t>nivel</a:t>
            </a:r>
            <a:endParaRPr lang="en-GB"/>
          </a:p>
          <a:p>
            <a:pPr lvl="3"/>
            <a:r>
              <a:rPr lang="en-GB"/>
              <a:t>Cuarto </a:t>
            </a:r>
            <a:r>
              <a:rPr lang="en-GB" err="1"/>
              <a:t>nivel</a:t>
            </a:r>
            <a:endParaRPr lang="en-GB"/>
          </a:p>
          <a:p>
            <a:pPr lvl="4"/>
            <a:r>
              <a:rPr lang="en-GB"/>
              <a:t>Quinto </a:t>
            </a:r>
            <a:r>
              <a:rPr lang="en-GB" err="1"/>
              <a:t>nivel</a:t>
            </a:r>
            <a:endParaRPr lang="en-GB"/>
          </a:p>
        </p:txBody>
      </p:sp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698C4985-D042-A04D-9E87-4E855F3365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E7EBEDA2-51E6-554C-A63C-E820F6D0080D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MSIPCMContentMarking" descr="{&quot;HashCode&quot;:1696608652,&quot;Placement&quot;:&quot;Footer&quot;,&quot;Top&quot;:515.826355,&quot;Left&quot;:0.0,&quot;SlideWidth&quot;:960,&quot;SlideHeight&quot;:540}">
            <a:extLst>
              <a:ext uri="{FF2B5EF4-FFF2-40B4-BE49-F238E27FC236}">
                <a16:creationId xmlns:a16="http://schemas.microsoft.com/office/drawing/2014/main" id="{0892C203-CFE4-4E68-B77B-0D3C1BC49733}"/>
              </a:ext>
            </a:extLst>
          </p:cNvPr>
          <p:cNvSpPr txBox="1"/>
          <p:nvPr userDrawn="1"/>
        </p:nvSpPr>
        <p:spPr>
          <a:xfrm>
            <a:off x="0" y="6550995"/>
            <a:ext cx="3088690" cy="3070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ES" sz="700">
                <a:solidFill>
                  <a:srgbClr val="000000"/>
                </a:solidFill>
                <a:latin typeface="Arial" panose="020B0604020202020204" pitchFamily="34" charset="0"/>
              </a:rPr>
              <a:t>***Este documento está clasificado como PUBLICO por TELEFÓNICA.
***This document is classified as PUBLIC by TELEFÓNICA.</a:t>
            </a:r>
          </a:p>
        </p:txBody>
      </p:sp>
    </p:spTree>
    <p:extLst>
      <p:ext uri="{BB962C8B-B14F-4D97-AF65-F5344CB8AC3E}">
        <p14:creationId xmlns:p14="http://schemas.microsoft.com/office/powerpoint/2010/main" val="66960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pos="3795">
          <p15:clr>
            <a:srgbClr val="F26B43"/>
          </p15:clr>
        </p15:guide>
        <p15:guide id="61" pos="3885">
          <p15:clr>
            <a:srgbClr val="F26B43"/>
          </p15:clr>
        </p15:guide>
        <p15:guide id="62" orient="horz" pos="408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713FD1C-34D1-484E-A527-95FE23CFD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049167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41" name="Diapositiva de think-cell" r:id="rId25" imgW="421" imgH="423" progId="TCLayout.ActiveDocument.1">
                  <p:embed/>
                </p:oleObj>
              </mc:Choice>
              <mc:Fallback>
                <p:oleObj name="Diapositiva de think-cell" r:id="rId25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713FD1C-34D1-484E-A527-95FE23CFD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234" y="624928"/>
            <a:ext cx="2774901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3659" y="3389715"/>
            <a:ext cx="10515600" cy="2180575"/>
          </a:xfrm>
          <a:prstGeom prst="rect">
            <a:avLst/>
          </a:prstGeom>
        </p:spPr>
        <p:txBody>
          <a:bodyPr vert="horz" lIns="91440" tIns="45720" rIns="91440" bIns="45720" numCol="1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698C4985-D042-A04D-9E87-4E855F3365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7341" y="63572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7" name="MSIPCMContentMarking" descr="{&quot;HashCode&quot;:1696608652,&quot;Placement&quot;:&quot;Footer&quot;,&quot;Top&quot;:515.826355,&quot;Left&quot;:0.0,&quot;SlideWidth&quot;:960,&quot;SlideHeight&quot;:540}">
            <a:extLst>
              <a:ext uri="{FF2B5EF4-FFF2-40B4-BE49-F238E27FC236}">
                <a16:creationId xmlns:a16="http://schemas.microsoft.com/office/drawing/2014/main" id="{510C129A-8A8F-4989-9E75-3C18B7D454DF}"/>
              </a:ext>
            </a:extLst>
          </p:cNvPr>
          <p:cNvSpPr txBox="1"/>
          <p:nvPr userDrawn="1"/>
        </p:nvSpPr>
        <p:spPr>
          <a:xfrm>
            <a:off x="0" y="6550995"/>
            <a:ext cx="3088690" cy="3070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ES" sz="700">
                <a:solidFill>
                  <a:srgbClr val="000000"/>
                </a:solidFill>
                <a:latin typeface="Arial" panose="020B0604020202020204" pitchFamily="34" charset="0"/>
              </a:rPr>
              <a:t>***Este documento está clasificado como PUBLICO por TELEFÓNICA.
***This document is classified as PUBLIC by TELEFÓNICA.</a:t>
            </a:r>
          </a:p>
        </p:txBody>
      </p:sp>
    </p:spTree>
    <p:extLst>
      <p:ext uri="{BB962C8B-B14F-4D97-AF65-F5344CB8AC3E}">
        <p14:creationId xmlns:p14="http://schemas.microsoft.com/office/powerpoint/2010/main" val="1183465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pos="3795">
          <p15:clr>
            <a:srgbClr val="F26B43"/>
          </p15:clr>
        </p15:guide>
        <p15:guide id="61" pos="3885">
          <p15:clr>
            <a:srgbClr val="F26B43"/>
          </p15:clr>
        </p15:guide>
        <p15:guide id="62" orient="horz" pos="40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3.png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4.png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5.png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3549476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68" name="Diapositiva de think-cell" r:id="rId5" imgW="336" imgH="336" progId="TCLayout.ActiveDocument.1">
                  <p:embed/>
                </p:oleObj>
              </mc:Choice>
              <mc:Fallback>
                <p:oleObj name="Diapositiva de think-cell" r:id="rId5" imgW="336" imgH="33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contenido 1"/>
          <p:cNvSpPr>
            <a:spLocks noGrp="1"/>
          </p:cNvSpPr>
          <p:nvPr>
            <p:ph sz="half" idx="12"/>
          </p:nvPr>
        </p:nvSpPr>
        <p:spPr>
          <a:xfrm>
            <a:off x="606181" y="2704452"/>
            <a:ext cx="8509830" cy="616900"/>
          </a:xfrm>
        </p:spPr>
        <p:txBody>
          <a:bodyPr vert="horz" wrap="none" lIns="0" tIns="0" rIns="0" bIns="0" numCol="1" rtlCol="0" anchor="t">
            <a:spAutoFit/>
          </a:bodyPr>
          <a:lstStyle/>
          <a:p>
            <a:pPr eaLnBrk="1" hangingPunct="1">
              <a:defRPr/>
            </a:pPr>
            <a:r>
              <a:rPr lang="en-GB" altLang="es-ES" dirty="0">
                <a:solidFill>
                  <a:schemeClr val="tx2"/>
                </a:solidFill>
              </a:rPr>
              <a:t>CAMARA – MEC &amp; Deployment API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4BE3B375-1899-4DEC-9D89-45CD64820179}"/>
              </a:ext>
            </a:extLst>
          </p:cNvPr>
          <p:cNvSpPr/>
          <p:nvPr/>
        </p:nvSpPr>
        <p:spPr>
          <a:xfrm>
            <a:off x="5704224" y="5373886"/>
            <a:ext cx="7778393" cy="1503831"/>
          </a:xfrm>
          <a:custGeom>
            <a:avLst/>
            <a:gdLst>
              <a:gd name="connsiteX0" fmla="*/ 0 w 3451123"/>
              <a:gd name="connsiteY0" fmla="*/ 1725562 h 3451123"/>
              <a:gd name="connsiteX1" fmla="*/ 1725562 w 3451123"/>
              <a:gd name="connsiteY1" fmla="*/ 0 h 3451123"/>
              <a:gd name="connsiteX2" fmla="*/ 3451124 w 3451123"/>
              <a:gd name="connsiteY2" fmla="*/ 1725562 h 3451123"/>
              <a:gd name="connsiteX3" fmla="*/ 1725562 w 3451123"/>
              <a:gd name="connsiteY3" fmla="*/ 3451124 h 3451123"/>
              <a:gd name="connsiteX4" fmla="*/ 0 w 3451123"/>
              <a:gd name="connsiteY4" fmla="*/ 1725562 h 3451123"/>
              <a:gd name="connsiteX0" fmla="*/ 1000 w 3452124"/>
              <a:gd name="connsiteY0" fmla="*/ 1725562 h 2186499"/>
              <a:gd name="connsiteX1" fmla="*/ 1726562 w 3452124"/>
              <a:gd name="connsiteY1" fmla="*/ 0 h 2186499"/>
              <a:gd name="connsiteX2" fmla="*/ 3452124 w 3452124"/>
              <a:gd name="connsiteY2" fmla="*/ 1725562 h 2186499"/>
              <a:gd name="connsiteX3" fmla="*/ 1549582 w 3452124"/>
              <a:gd name="connsiteY3" fmla="*/ 1858298 h 2186499"/>
              <a:gd name="connsiteX4" fmla="*/ 1000 w 3452124"/>
              <a:gd name="connsiteY4" fmla="*/ 1725562 h 2186499"/>
              <a:gd name="connsiteX0" fmla="*/ 1000 w 3452124"/>
              <a:gd name="connsiteY0" fmla="*/ 1725562 h 1908638"/>
              <a:gd name="connsiteX1" fmla="*/ 1726562 w 3452124"/>
              <a:gd name="connsiteY1" fmla="*/ 0 h 1908638"/>
              <a:gd name="connsiteX2" fmla="*/ 3452124 w 3452124"/>
              <a:gd name="connsiteY2" fmla="*/ 1725562 h 1908638"/>
              <a:gd name="connsiteX3" fmla="*/ 1549582 w 3452124"/>
              <a:gd name="connsiteY3" fmla="*/ 1858298 h 1908638"/>
              <a:gd name="connsiteX4" fmla="*/ 1000 w 3452124"/>
              <a:gd name="connsiteY4" fmla="*/ 1725562 h 1908638"/>
              <a:gd name="connsiteX0" fmla="*/ 1000 w 3452124"/>
              <a:gd name="connsiteY0" fmla="*/ 1725562 h 2124029"/>
              <a:gd name="connsiteX1" fmla="*/ 1726562 w 3452124"/>
              <a:gd name="connsiteY1" fmla="*/ 0 h 2124029"/>
              <a:gd name="connsiteX2" fmla="*/ 3452124 w 3452124"/>
              <a:gd name="connsiteY2" fmla="*/ 1725562 h 2124029"/>
              <a:gd name="connsiteX3" fmla="*/ 1549582 w 3452124"/>
              <a:gd name="connsiteY3" fmla="*/ 1858298 h 2124029"/>
              <a:gd name="connsiteX4" fmla="*/ 1000 w 3452124"/>
              <a:gd name="connsiteY4" fmla="*/ 1725562 h 2124029"/>
              <a:gd name="connsiteX0" fmla="*/ 49953 w 3501077"/>
              <a:gd name="connsiteY0" fmla="*/ 1725562 h 2098117"/>
              <a:gd name="connsiteX1" fmla="*/ 1775515 w 3501077"/>
              <a:gd name="connsiteY1" fmla="*/ 0 h 2098117"/>
              <a:gd name="connsiteX2" fmla="*/ 3501077 w 3501077"/>
              <a:gd name="connsiteY2" fmla="*/ 1725562 h 2098117"/>
              <a:gd name="connsiteX3" fmla="*/ 1598535 w 3501077"/>
              <a:gd name="connsiteY3" fmla="*/ 1858298 h 2098117"/>
              <a:gd name="connsiteX4" fmla="*/ 49953 w 3501077"/>
              <a:gd name="connsiteY4" fmla="*/ 1725562 h 2098117"/>
              <a:gd name="connsiteX0" fmla="*/ 49953 w 3501077"/>
              <a:gd name="connsiteY0" fmla="*/ 1725562 h 2098117"/>
              <a:gd name="connsiteX1" fmla="*/ 1775515 w 3501077"/>
              <a:gd name="connsiteY1" fmla="*/ 0 h 2098117"/>
              <a:gd name="connsiteX2" fmla="*/ 3501077 w 3501077"/>
              <a:gd name="connsiteY2" fmla="*/ 1725562 h 2098117"/>
              <a:gd name="connsiteX3" fmla="*/ 1598535 w 3501077"/>
              <a:gd name="connsiteY3" fmla="*/ 1858298 h 2098117"/>
              <a:gd name="connsiteX4" fmla="*/ 49953 w 3501077"/>
              <a:gd name="connsiteY4" fmla="*/ 1725562 h 2098117"/>
              <a:gd name="connsiteX0" fmla="*/ 49953 w 3501077"/>
              <a:gd name="connsiteY0" fmla="*/ 1725562 h 1858298"/>
              <a:gd name="connsiteX1" fmla="*/ 1775515 w 3501077"/>
              <a:gd name="connsiteY1" fmla="*/ 0 h 1858298"/>
              <a:gd name="connsiteX2" fmla="*/ 3501077 w 3501077"/>
              <a:gd name="connsiteY2" fmla="*/ 1725562 h 1858298"/>
              <a:gd name="connsiteX3" fmla="*/ 1598535 w 3501077"/>
              <a:gd name="connsiteY3" fmla="*/ 1858298 h 1858298"/>
              <a:gd name="connsiteX4" fmla="*/ 49953 w 3501077"/>
              <a:gd name="connsiteY4" fmla="*/ 1725562 h 1858298"/>
              <a:gd name="connsiteX0" fmla="*/ 0 w 3451124"/>
              <a:gd name="connsiteY0" fmla="*/ 1725562 h 1858298"/>
              <a:gd name="connsiteX1" fmla="*/ 1725562 w 3451124"/>
              <a:gd name="connsiteY1" fmla="*/ 0 h 1858298"/>
              <a:gd name="connsiteX2" fmla="*/ 3451124 w 3451124"/>
              <a:gd name="connsiteY2" fmla="*/ 1725562 h 1858298"/>
              <a:gd name="connsiteX3" fmla="*/ 1548582 w 3451124"/>
              <a:gd name="connsiteY3" fmla="*/ 1858298 h 1858298"/>
              <a:gd name="connsiteX4" fmla="*/ 0 w 3451124"/>
              <a:gd name="connsiteY4" fmla="*/ 1725562 h 1858298"/>
              <a:gd name="connsiteX0" fmla="*/ 0 w 3531644"/>
              <a:gd name="connsiteY0" fmla="*/ 1659793 h 1861246"/>
              <a:gd name="connsiteX1" fmla="*/ 1806082 w 3531644"/>
              <a:gd name="connsiteY1" fmla="*/ 136 h 1861246"/>
              <a:gd name="connsiteX2" fmla="*/ 3531644 w 3531644"/>
              <a:gd name="connsiteY2" fmla="*/ 1725698 h 1861246"/>
              <a:gd name="connsiteX3" fmla="*/ 1629102 w 3531644"/>
              <a:gd name="connsiteY3" fmla="*/ 1858434 h 1861246"/>
              <a:gd name="connsiteX4" fmla="*/ 0 w 3531644"/>
              <a:gd name="connsiteY4" fmla="*/ 1659793 h 1861246"/>
              <a:gd name="connsiteX0" fmla="*/ 0 w 3531644"/>
              <a:gd name="connsiteY0" fmla="*/ 1659735 h 1861188"/>
              <a:gd name="connsiteX1" fmla="*/ 1806082 w 3531644"/>
              <a:gd name="connsiteY1" fmla="*/ 78 h 1861188"/>
              <a:gd name="connsiteX2" fmla="*/ 3531644 w 3531644"/>
              <a:gd name="connsiteY2" fmla="*/ 1725640 h 1861188"/>
              <a:gd name="connsiteX3" fmla="*/ 1629102 w 3531644"/>
              <a:gd name="connsiteY3" fmla="*/ 1858376 h 1861188"/>
              <a:gd name="connsiteX4" fmla="*/ 0 w 3531644"/>
              <a:gd name="connsiteY4" fmla="*/ 1659735 h 1861188"/>
              <a:gd name="connsiteX0" fmla="*/ 0 w 3532100"/>
              <a:gd name="connsiteY0" fmla="*/ 1659735 h 1861188"/>
              <a:gd name="connsiteX1" fmla="*/ 1806082 w 3532100"/>
              <a:gd name="connsiteY1" fmla="*/ 78 h 1861188"/>
              <a:gd name="connsiteX2" fmla="*/ 3531644 w 3532100"/>
              <a:gd name="connsiteY2" fmla="*/ 1725640 h 1861188"/>
              <a:gd name="connsiteX3" fmla="*/ 1629102 w 3532100"/>
              <a:gd name="connsiteY3" fmla="*/ 1858376 h 1861188"/>
              <a:gd name="connsiteX4" fmla="*/ 0 w 3532100"/>
              <a:gd name="connsiteY4" fmla="*/ 1659735 h 1861188"/>
              <a:gd name="connsiteX0" fmla="*/ 0 w 3532149"/>
              <a:gd name="connsiteY0" fmla="*/ 1659735 h 1861188"/>
              <a:gd name="connsiteX1" fmla="*/ 1806082 w 3532149"/>
              <a:gd name="connsiteY1" fmla="*/ 78 h 1861188"/>
              <a:gd name="connsiteX2" fmla="*/ 3531644 w 3532149"/>
              <a:gd name="connsiteY2" fmla="*/ 1725640 h 1861188"/>
              <a:gd name="connsiteX3" fmla="*/ 1629102 w 3532149"/>
              <a:gd name="connsiteY3" fmla="*/ 1858376 h 1861188"/>
              <a:gd name="connsiteX4" fmla="*/ 0 w 3532149"/>
              <a:gd name="connsiteY4" fmla="*/ 1659735 h 1861188"/>
              <a:gd name="connsiteX0" fmla="*/ 0 w 3532149"/>
              <a:gd name="connsiteY0" fmla="*/ 1659735 h 1861189"/>
              <a:gd name="connsiteX1" fmla="*/ 1806082 w 3532149"/>
              <a:gd name="connsiteY1" fmla="*/ 78 h 1861189"/>
              <a:gd name="connsiteX2" fmla="*/ 3531644 w 3532149"/>
              <a:gd name="connsiteY2" fmla="*/ 1725640 h 1861189"/>
              <a:gd name="connsiteX3" fmla="*/ 1629102 w 3532149"/>
              <a:gd name="connsiteY3" fmla="*/ 1858377 h 1861189"/>
              <a:gd name="connsiteX4" fmla="*/ 0 w 3532149"/>
              <a:gd name="connsiteY4" fmla="*/ 1659735 h 1861189"/>
              <a:gd name="connsiteX0" fmla="*/ 0 w 3532149"/>
              <a:gd name="connsiteY0" fmla="*/ 1659735 h 1861190"/>
              <a:gd name="connsiteX1" fmla="*/ 1806082 w 3532149"/>
              <a:gd name="connsiteY1" fmla="*/ 78 h 1861190"/>
              <a:gd name="connsiteX2" fmla="*/ 3531644 w 3532149"/>
              <a:gd name="connsiteY2" fmla="*/ 1725640 h 1861190"/>
              <a:gd name="connsiteX3" fmla="*/ 1629102 w 3532149"/>
              <a:gd name="connsiteY3" fmla="*/ 1858378 h 1861190"/>
              <a:gd name="connsiteX4" fmla="*/ 0 w 3532149"/>
              <a:gd name="connsiteY4" fmla="*/ 1659735 h 1861190"/>
              <a:gd name="connsiteX0" fmla="*/ 0 w 3532149"/>
              <a:gd name="connsiteY0" fmla="*/ 1659735 h 1906674"/>
              <a:gd name="connsiteX1" fmla="*/ 1806082 w 3532149"/>
              <a:gd name="connsiteY1" fmla="*/ 78 h 1906674"/>
              <a:gd name="connsiteX2" fmla="*/ 3531644 w 3532149"/>
              <a:gd name="connsiteY2" fmla="*/ 1725640 h 1906674"/>
              <a:gd name="connsiteX3" fmla="*/ 0 w 3532149"/>
              <a:gd name="connsiteY3" fmla="*/ 1659735 h 1906674"/>
              <a:gd name="connsiteX0" fmla="*/ 0 w 3532149"/>
              <a:gd name="connsiteY0" fmla="*/ 1659735 h 1817478"/>
              <a:gd name="connsiteX1" fmla="*/ 1806082 w 3532149"/>
              <a:gd name="connsiteY1" fmla="*/ 78 h 1817478"/>
              <a:gd name="connsiteX2" fmla="*/ 3531644 w 3532149"/>
              <a:gd name="connsiteY2" fmla="*/ 1725640 h 1817478"/>
              <a:gd name="connsiteX3" fmla="*/ 0 w 3532149"/>
              <a:gd name="connsiteY3" fmla="*/ 1659735 h 1817478"/>
              <a:gd name="connsiteX0" fmla="*/ 0 w 3532149"/>
              <a:gd name="connsiteY0" fmla="*/ 1659735 h 1788055"/>
              <a:gd name="connsiteX1" fmla="*/ 1806082 w 3532149"/>
              <a:gd name="connsiteY1" fmla="*/ 78 h 1788055"/>
              <a:gd name="connsiteX2" fmla="*/ 3531644 w 3532149"/>
              <a:gd name="connsiteY2" fmla="*/ 1725640 h 1788055"/>
              <a:gd name="connsiteX3" fmla="*/ 0 w 3532149"/>
              <a:gd name="connsiteY3" fmla="*/ 1659735 h 1788055"/>
              <a:gd name="connsiteX0" fmla="*/ 0 w 3532149"/>
              <a:gd name="connsiteY0" fmla="*/ 1659735 h 1725640"/>
              <a:gd name="connsiteX1" fmla="*/ 1806082 w 3532149"/>
              <a:gd name="connsiteY1" fmla="*/ 78 h 1725640"/>
              <a:gd name="connsiteX2" fmla="*/ 3531644 w 3532149"/>
              <a:gd name="connsiteY2" fmla="*/ 1725640 h 1725640"/>
              <a:gd name="connsiteX3" fmla="*/ 0 w 3532149"/>
              <a:gd name="connsiteY3" fmla="*/ 1659735 h 1725640"/>
              <a:gd name="connsiteX0" fmla="*/ 0 w 3648372"/>
              <a:gd name="connsiteY0" fmla="*/ 1659692 h 1703629"/>
              <a:gd name="connsiteX1" fmla="*/ 1806082 w 3648372"/>
              <a:gd name="connsiteY1" fmla="*/ 35 h 1703629"/>
              <a:gd name="connsiteX2" fmla="*/ 3647951 w 3648372"/>
              <a:gd name="connsiteY2" fmla="*/ 1703629 h 1703629"/>
              <a:gd name="connsiteX3" fmla="*/ 0 w 3648372"/>
              <a:gd name="connsiteY3" fmla="*/ 1659692 h 1703629"/>
              <a:gd name="connsiteX0" fmla="*/ 0 w 3647951"/>
              <a:gd name="connsiteY0" fmla="*/ 1659692 h 1703629"/>
              <a:gd name="connsiteX1" fmla="*/ 1806082 w 3647951"/>
              <a:gd name="connsiteY1" fmla="*/ 35 h 1703629"/>
              <a:gd name="connsiteX2" fmla="*/ 3647951 w 3647951"/>
              <a:gd name="connsiteY2" fmla="*/ 1703629 h 1703629"/>
              <a:gd name="connsiteX3" fmla="*/ 0 w 3647951"/>
              <a:gd name="connsiteY3" fmla="*/ 1659692 h 1703629"/>
              <a:gd name="connsiteX0" fmla="*/ 0 w 3674791"/>
              <a:gd name="connsiteY0" fmla="*/ 1659793 h 1747667"/>
              <a:gd name="connsiteX1" fmla="*/ 1806082 w 3674791"/>
              <a:gd name="connsiteY1" fmla="*/ 136 h 1747667"/>
              <a:gd name="connsiteX2" fmla="*/ 3674791 w 3674791"/>
              <a:gd name="connsiteY2" fmla="*/ 1747666 h 1747667"/>
              <a:gd name="connsiteX3" fmla="*/ 0 w 3674791"/>
              <a:gd name="connsiteY3" fmla="*/ 1659793 h 1747667"/>
              <a:gd name="connsiteX0" fmla="*/ 0 w 3674791"/>
              <a:gd name="connsiteY0" fmla="*/ 1659701 h 1747574"/>
              <a:gd name="connsiteX1" fmla="*/ 1806082 w 3674791"/>
              <a:gd name="connsiteY1" fmla="*/ 44 h 1747574"/>
              <a:gd name="connsiteX2" fmla="*/ 3674791 w 3674791"/>
              <a:gd name="connsiteY2" fmla="*/ 1747574 h 1747574"/>
              <a:gd name="connsiteX3" fmla="*/ 0 w 3674791"/>
              <a:gd name="connsiteY3" fmla="*/ 1659701 h 1747574"/>
              <a:gd name="connsiteX0" fmla="*/ 0 w 3674791"/>
              <a:gd name="connsiteY0" fmla="*/ 1659701 h 1747574"/>
              <a:gd name="connsiteX1" fmla="*/ 1806082 w 3674791"/>
              <a:gd name="connsiteY1" fmla="*/ 44 h 1747574"/>
              <a:gd name="connsiteX2" fmla="*/ 3674791 w 3674791"/>
              <a:gd name="connsiteY2" fmla="*/ 1747574 h 1747574"/>
              <a:gd name="connsiteX3" fmla="*/ 0 w 3674791"/>
              <a:gd name="connsiteY3" fmla="*/ 1659701 h 1747574"/>
              <a:gd name="connsiteX0" fmla="*/ 0 w 3674791"/>
              <a:gd name="connsiteY0" fmla="*/ 1659711 h 1747584"/>
              <a:gd name="connsiteX1" fmla="*/ 1806082 w 3674791"/>
              <a:gd name="connsiteY1" fmla="*/ 54 h 1747584"/>
              <a:gd name="connsiteX2" fmla="*/ 3674791 w 3674791"/>
              <a:gd name="connsiteY2" fmla="*/ 1747584 h 1747584"/>
              <a:gd name="connsiteX3" fmla="*/ 0 w 3674791"/>
              <a:gd name="connsiteY3" fmla="*/ 1659711 h 1747584"/>
              <a:gd name="connsiteX0" fmla="*/ 0 w 3669355"/>
              <a:gd name="connsiteY0" fmla="*/ 1713081 h 1747562"/>
              <a:gd name="connsiteX1" fmla="*/ 1800646 w 3669355"/>
              <a:gd name="connsiteY1" fmla="*/ 32 h 1747562"/>
              <a:gd name="connsiteX2" fmla="*/ 3669355 w 3669355"/>
              <a:gd name="connsiteY2" fmla="*/ 1747562 h 1747562"/>
              <a:gd name="connsiteX3" fmla="*/ 0 w 3669355"/>
              <a:gd name="connsiteY3" fmla="*/ 1713081 h 1747562"/>
              <a:gd name="connsiteX0" fmla="*/ 0 w 3669355"/>
              <a:gd name="connsiteY0" fmla="*/ 1713081 h 1747562"/>
              <a:gd name="connsiteX1" fmla="*/ 1800646 w 3669355"/>
              <a:gd name="connsiteY1" fmla="*/ 32 h 1747562"/>
              <a:gd name="connsiteX2" fmla="*/ 3669355 w 3669355"/>
              <a:gd name="connsiteY2" fmla="*/ 1747562 h 1747562"/>
              <a:gd name="connsiteX3" fmla="*/ 0 w 3669355"/>
              <a:gd name="connsiteY3" fmla="*/ 1713081 h 1747562"/>
              <a:gd name="connsiteX0" fmla="*/ 0 w 3653047"/>
              <a:gd name="connsiteY0" fmla="*/ 1713061 h 1734194"/>
              <a:gd name="connsiteX1" fmla="*/ 1800646 w 3653047"/>
              <a:gd name="connsiteY1" fmla="*/ 12 h 1734194"/>
              <a:gd name="connsiteX2" fmla="*/ 3653047 w 3653047"/>
              <a:gd name="connsiteY2" fmla="*/ 1734194 h 1734194"/>
              <a:gd name="connsiteX3" fmla="*/ 0 w 3653047"/>
              <a:gd name="connsiteY3" fmla="*/ 1713061 h 1734194"/>
              <a:gd name="connsiteX0" fmla="*/ 0 w 3653047"/>
              <a:gd name="connsiteY0" fmla="*/ 1713061 h 1734194"/>
              <a:gd name="connsiteX1" fmla="*/ 1800646 w 3653047"/>
              <a:gd name="connsiteY1" fmla="*/ 12 h 1734194"/>
              <a:gd name="connsiteX2" fmla="*/ 3653047 w 3653047"/>
              <a:gd name="connsiteY2" fmla="*/ 1734194 h 1734194"/>
              <a:gd name="connsiteX3" fmla="*/ 0 w 3653047"/>
              <a:gd name="connsiteY3" fmla="*/ 1713061 h 1734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3047" h="1734194">
                <a:moveTo>
                  <a:pt x="0" y="1713061"/>
                </a:moveTo>
                <a:cubicBezTo>
                  <a:pt x="461594" y="783296"/>
                  <a:pt x="1191805" y="-3510"/>
                  <a:pt x="1800646" y="12"/>
                </a:cubicBezTo>
                <a:cubicBezTo>
                  <a:pt x="2409487" y="3534"/>
                  <a:pt x="3268342" y="715287"/>
                  <a:pt x="3653047" y="1734194"/>
                </a:cubicBezTo>
                <a:lnTo>
                  <a:pt x="0" y="17130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000">
              <a:solidFill>
                <a:schemeClr val="bg1"/>
              </a:solidFill>
            </a:endParaRP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10070751" y="5879577"/>
            <a:ext cx="8768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/>
            <a:r>
              <a:rPr lang="en-GB" altLang="en-US" sz="16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July 2022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203083AC-470F-467D-9512-D937FB113FCC}"/>
              </a:ext>
            </a:extLst>
          </p:cNvPr>
          <p:cNvGrpSpPr/>
          <p:nvPr/>
        </p:nvGrpSpPr>
        <p:grpSpPr>
          <a:xfrm>
            <a:off x="617764" y="2410795"/>
            <a:ext cx="748947" cy="188941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3EEFD891-D180-41AB-8EBB-3EC41238E616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A02702EB-F96D-4E91-8578-B24CEE959E44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795B7FF0-55F0-44B6-9982-82E527744421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25683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BB11775-5898-0319-721A-9C7E10C53C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458" y="874183"/>
            <a:ext cx="10122973" cy="356829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E78F441-2F7F-D803-B48A-463383717093}"/>
              </a:ext>
            </a:extLst>
          </p:cNvPr>
          <p:cNvSpPr txBox="1"/>
          <p:nvPr/>
        </p:nvSpPr>
        <p:spPr>
          <a:xfrm>
            <a:off x="343458" y="243763"/>
            <a:ext cx="115894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1CF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C Edge Cloud API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D2F388F-95FD-18E8-4131-ACD499D110C7}"/>
              </a:ext>
            </a:extLst>
          </p:cNvPr>
          <p:cNvSpPr txBox="1"/>
          <p:nvPr/>
        </p:nvSpPr>
        <p:spPr>
          <a:xfrm>
            <a:off x="435864" y="4442476"/>
            <a:ext cx="1037234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onboardApplication</a:t>
            </a:r>
            <a:r>
              <a:rPr lang="en-US" dirty="0"/>
              <a:t> - Submits an application details to an OP. Based on the details provided, OP shall do bookkeeping, resource validation and other pre-deployment oper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updateApplication</a:t>
            </a:r>
            <a:r>
              <a:rPr lang="en-US" dirty="0"/>
              <a:t> - Updates an OP about changes in application compute resource requirements, QOS Profile, </a:t>
            </a:r>
            <a:r>
              <a:rPr lang="en-US" dirty="0" err="1"/>
              <a:t>assosiated</a:t>
            </a:r>
            <a:r>
              <a:rPr lang="en-US" dirty="0"/>
              <a:t> descriptor or change in </a:t>
            </a:r>
            <a:r>
              <a:rPr lang="en-US" dirty="0" err="1"/>
              <a:t>assosiated</a:t>
            </a:r>
            <a:r>
              <a:rPr lang="en-US" dirty="0"/>
              <a:t> compon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removeApplication</a:t>
            </a:r>
            <a:r>
              <a:rPr lang="en-US" dirty="0"/>
              <a:t> - Removes an application from an 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viewApplication</a:t>
            </a:r>
            <a:r>
              <a:rPr lang="en-US" b="1" dirty="0"/>
              <a:t> </a:t>
            </a:r>
            <a:r>
              <a:rPr lang="en-US" dirty="0"/>
              <a:t>- </a:t>
            </a:r>
            <a:r>
              <a:rPr lang="en-US" dirty="0" err="1"/>
              <a:t>Retrives</a:t>
            </a:r>
            <a:r>
              <a:rPr lang="en-US" dirty="0"/>
              <a:t> application details from an 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onboardExistingAppNewZones</a:t>
            </a:r>
            <a:r>
              <a:rPr lang="en-US" dirty="0"/>
              <a:t> - Make an application available on new additional zo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lockUnlockApplicationZone</a:t>
            </a:r>
            <a:r>
              <a:rPr lang="en-US" dirty="0"/>
              <a:t> - Forbid or permit </a:t>
            </a:r>
            <a:r>
              <a:rPr lang="en-US" dirty="0" err="1"/>
              <a:t>intantiation</a:t>
            </a:r>
            <a:r>
              <a:rPr lang="en-US" dirty="0"/>
              <a:t> of application on a zon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196221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E1DDC71C-0128-1101-3B92-7BF80476F849}"/>
              </a:ext>
            </a:extLst>
          </p:cNvPr>
          <p:cNvSpPr txBox="1"/>
          <p:nvPr/>
        </p:nvSpPr>
        <p:spPr>
          <a:xfrm>
            <a:off x="343458" y="243763"/>
            <a:ext cx="115894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1CF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C Edge Cloud API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9D0AFE5E-3A87-1256-E3E3-7E876AC1FE9B}"/>
              </a:ext>
            </a:extLst>
          </p:cNvPr>
          <p:cNvSpPr txBox="1"/>
          <p:nvPr/>
        </p:nvSpPr>
        <p:spPr>
          <a:xfrm>
            <a:off x="343458" y="3959980"/>
            <a:ext cx="1021156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 err="1"/>
              <a:t>instantiateApplication</a:t>
            </a:r>
            <a:r>
              <a:rPr lang="en-US" dirty="0"/>
              <a:t> - Submits an application details to an OP. Based on the details provided, OP shall do bookkeeping, resource validation and other pre-deployment operations.</a:t>
            </a:r>
          </a:p>
          <a:p>
            <a:r>
              <a:rPr lang="en-US" b="1" dirty="0" err="1"/>
              <a:t>viewApplicationInstance</a:t>
            </a:r>
            <a:r>
              <a:rPr lang="en-US" dirty="0"/>
              <a:t> - </a:t>
            </a:r>
            <a:r>
              <a:rPr lang="en-US" dirty="0" err="1"/>
              <a:t>Retrives</a:t>
            </a:r>
            <a:r>
              <a:rPr lang="en-US" dirty="0"/>
              <a:t> details of an application instance running on a zone</a:t>
            </a:r>
          </a:p>
          <a:p>
            <a:r>
              <a:rPr lang="en-US" b="1" dirty="0" err="1"/>
              <a:t>removeApplication</a:t>
            </a:r>
            <a:r>
              <a:rPr lang="en-US" dirty="0"/>
              <a:t> - Removes an application instance from an OP</a:t>
            </a:r>
            <a:endParaRPr lang="es-ES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6BC4D5B-D4F1-CC85-008D-D9E7822B47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458" y="1517348"/>
            <a:ext cx="11118846" cy="2074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7694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27351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0DB82CB-22C0-4C62-8584-6C7E10E07B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8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F0DB82CB-22C0-4C62-8584-6C7E10E07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>
            <a:extLst>
              <a:ext uri="{FF2B5EF4-FFF2-40B4-BE49-F238E27FC236}">
                <a16:creationId xmlns:a16="http://schemas.microsoft.com/office/drawing/2014/main" id="{5B9FDE01-9526-4EFA-B990-D244F74FD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0" y="80388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EED5684-0784-4544-A57A-33F869EAE1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97810" y="1231718"/>
            <a:ext cx="8996380" cy="4587263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19B468A8-54A6-48BA-872C-D30D91E22FEE}"/>
              </a:ext>
            </a:extLst>
          </p:cNvPr>
          <p:cNvSpPr txBox="1"/>
          <p:nvPr/>
        </p:nvSpPr>
        <p:spPr>
          <a:xfrm>
            <a:off x="374631" y="222981"/>
            <a:ext cx="115894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1CF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low Analysis – Discovery Phase</a:t>
            </a:r>
          </a:p>
        </p:txBody>
      </p:sp>
    </p:spTree>
    <p:extLst>
      <p:ext uri="{BB962C8B-B14F-4D97-AF65-F5344CB8AC3E}">
        <p14:creationId xmlns:p14="http://schemas.microsoft.com/office/powerpoint/2010/main" val="6954458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0DB82CB-22C0-4C62-8584-6C7E10E07B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4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F0DB82CB-22C0-4C62-8584-6C7E10E07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>
            <a:extLst>
              <a:ext uri="{FF2B5EF4-FFF2-40B4-BE49-F238E27FC236}">
                <a16:creationId xmlns:a16="http://schemas.microsoft.com/office/drawing/2014/main" id="{5B9FDE01-9526-4EFA-B990-D244F74FD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0" y="80388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ES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9B468A8-54A6-48BA-872C-D30D91E22FEE}"/>
              </a:ext>
            </a:extLst>
          </p:cNvPr>
          <p:cNvSpPr txBox="1"/>
          <p:nvPr/>
        </p:nvSpPr>
        <p:spPr>
          <a:xfrm>
            <a:off x="374631" y="222981"/>
            <a:ext cx="115894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1CF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low Analysis – Application Onboarding Phase 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59BE56E-F60A-4308-8D9B-FA00765C6A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1187" y="1150513"/>
            <a:ext cx="8751049" cy="4903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765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0DB82CB-22C0-4C62-8584-6C7E10E07B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8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F0DB82CB-22C0-4C62-8584-6C7E10E07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>
            <a:extLst>
              <a:ext uri="{FF2B5EF4-FFF2-40B4-BE49-F238E27FC236}">
                <a16:creationId xmlns:a16="http://schemas.microsoft.com/office/drawing/2014/main" id="{5B9FDE01-9526-4EFA-B990-D244F74FD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0" y="80388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ES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9B468A8-54A6-48BA-872C-D30D91E22FEE}"/>
              </a:ext>
            </a:extLst>
          </p:cNvPr>
          <p:cNvSpPr txBox="1"/>
          <p:nvPr/>
        </p:nvSpPr>
        <p:spPr>
          <a:xfrm>
            <a:off x="374631" y="222981"/>
            <a:ext cx="115894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1CF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low Analysis – Service Endpoints Phase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2BD81C1-6E6D-4D10-8874-11317DB849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4806" y="1931669"/>
            <a:ext cx="8996584" cy="3319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359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Application&#10;&#10;Description automatically generated with low confidence">
            <a:extLst>
              <a:ext uri="{FF2B5EF4-FFF2-40B4-BE49-F238E27FC236}">
                <a16:creationId xmlns:a16="http://schemas.microsoft.com/office/drawing/2014/main" id="{30ADF4FD-815C-3471-D3C6-DA71425A93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805" y="1381031"/>
            <a:ext cx="9639067" cy="4650851"/>
          </a:xfrm>
          <a:prstGeom prst="rect">
            <a:avLst/>
          </a:prstGeom>
          <a:noFill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E7CAFDC-5F32-B798-0647-A55BBF42CEE5}"/>
              </a:ext>
            </a:extLst>
          </p:cNvPr>
          <p:cNvSpPr txBox="1">
            <a:spLocks/>
          </p:cNvSpPr>
          <p:nvPr/>
        </p:nvSpPr>
        <p:spPr>
          <a:xfrm>
            <a:off x="600805" y="509733"/>
            <a:ext cx="10871200" cy="73079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1200" cap="none" spc="0" normalizeH="0" baseline="0" noProof="0" dirty="0">
                <a:ln>
                  <a:noFill/>
                </a:ln>
                <a:solidFill>
                  <a:srgbClr val="051CFB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C Experience Management and Exposure - Discovery</a:t>
            </a:r>
          </a:p>
        </p:txBody>
      </p:sp>
    </p:spTree>
    <p:extLst>
      <p:ext uri="{BB962C8B-B14F-4D97-AF65-F5344CB8AC3E}">
        <p14:creationId xmlns:p14="http://schemas.microsoft.com/office/powerpoint/2010/main" val="728961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99FCBB-7DEE-0041-F403-3898833EBD27}"/>
              </a:ext>
            </a:extLst>
          </p:cNvPr>
          <p:cNvSpPr txBox="1">
            <a:spLocks/>
          </p:cNvSpPr>
          <p:nvPr/>
        </p:nvSpPr>
        <p:spPr>
          <a:xfrm>
            <a:off x="600804" y="509733"/>
            <a:ext cx="11286395" cy="730799"/>
          </a:xfrm>
          <a:prstGeom prst="rect">
            <a:avLst/>
          </a:prstGeom>
        </p:spPr>
        <p:txBody>
          <a:bodyPr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000" b="1" dirty="0">
                <a:solidFill>
                  <a:srgbClr val="051CF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 Experience Management and Exposure – Service Endpoints</a:t>
            </a:r>
          </a:p>
        </p:txBody>
      </p:sp>
      <p:pic>
        <p:nvPicPr>
          <p:cNvPr id="3" name="Picture 3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2C18A66A-468D-0B3E-3DC1-5DCC57107A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200" y="1508760"/>
            <a:ext cx="10871200" cy="373299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24593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42D0E2-179A-A0A9-E79C-CDE41800FD5F}"/>
              </a:ext>
            </a:extLst>
          </p:cNvPr>
          <p:cNvSpPr txBox="1">
            <a:spLocks/>
          </p:cNvSpPr>
          <p:nvPr/>
        </p:nvSpPr>
        <p:spPr>
          <a:xfrm>
            <a:off x="600805" y="509733"/>
            <a:ext cx="10871200" cy="730799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dirty="0">
                <a:solidFill>
                  <a:srgbClr val="051CF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 Experience Management and Exposure – Service Profiles</a:t>
            </a:r>
          </a:p>
        </p:txBody>
      </p:sp>
      <p:pic>
        <p:nvPicPr>
          <p:cNvPr id="3" name="Pictur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0E343C8-3D5F-EB1F-D6EF-E654571FD9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200" y="1240532"/>
            <a:ext cx="10871200" cy="438171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789369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B0FC89D7-038E-5F87-34EE-C107D8294C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491" y="1225419"/>
            <a:ext cx="11359638" cy="2864498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970AF801-9BB1-73F5-EAB1-46982B431FC0}"/>
              </a:ext>
            </a:extLst>
          </p:cNvPr>
          <p:cNvSpPr txBox="1"/>
          <p:nvPr/>
        </p:nvSpPr>
        <p:spPr>
          <a:xfrm>
            <a:off x="343458" y="243763"/>
            <a:ext cx="115894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1CF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C Edge Cloud API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CADC848-415B-69DB-86F1-A22E81318FD5}"/>
              </a:ext>
            </a:extLst>
          </p:cNvPr>
          <p:cNvSpPr txBox="1"/>
          <p:nvPr/>
        </p:nvSpPr>
        <p:spPr>
          <a:xfrm>
            <a:off x="450341" y="4549334"/>
            <a:ext cx="1027053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reserveComputeResources</a:t>
            </a:r>
            <a:r>
              <a:rPr lang="en-US" dirty="0"/>
              <a:t> Reserves compute, network and storage resources on specified zones for an application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updateResourceReservation</a:t>
            </a:r>
            <a:r>
              <a:rPr lang="en-US" dirty="0"/>
              <a:t> Updates (add, remove or change amount) resources reserved for an application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viewReservedResources</a:t>
            </a:r>
            <a:r>
              <a:rPr lang="en-US" dirty="0"/>
              <a:t> Retrieves resources reserved for an application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removeReservedResources</a:t>
            </a:r>
            <a:r>
              <a:rPr lang="en-US" dirty="0"/>
              <a:t> Remove resources reserved for an application provider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025833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22B7881-F6A8-E703-1682-916163684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161" y="1153381"/>
            <a:ext cx="10187406" cy="357278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48ABCD54-0AA1-DB11-3428-B88E3002B358}"/>
              </a:ext>
            </a:extLst>
          </p:cNvPr>
          <p:cNvSpPr txBox="1"/>
          <p:nvPr/>
        </p:nvSpPr>
        <p:spPr>
          <a:xfrm>
            <a:off x="343458" y="243763"/>
            <a:ext cx="115894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1CF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C Edge Cloud API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5BFA9DE-AEFC-F741-A7F2-41BB51FAFB81}"/>
              </a:ext>
            </a:extLst>
          </p:cNvPr>
          <p:cNvSpPr txBox="1"/>
          <p:nvPr/>
        </p:nvSpPr>
        <p:spPr>
          <a:xfrm>
            <a:off x="698770" y="4827456"/>
            <a:ext cx="1047519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 dirty="0" err="1"/>
              <a:t>onboardArtifact</a:t>
            </a:r>
            <a:r>
              <a:rPr lang="es-ES" dirty="0"/>
              <a:t> </a:t>
            </a:r>
            <a:r>
              <a:rPr lang="es-ES" dirty="0" err="1"/>
              <a:t>Submits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artifact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operator</a:t>
            </a:r>
            <a:r>
              <a:rPr lang="es-ES" dirty="0"/>
              <a:t> </a:t>
            </a:r>
            <a:r>
              <a:rPr lang="es-ES" dirty="0" err="1"/>
              <a:t>platform</a:t>
            </a: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 dirty="0" err="1"/>
              <a:t>removeArtifact</a:t>
            </a:r>
            <a:r>
              <a:rPr lang="es-ES" dirty="0"/>
              <a:t> </a:t>
            </a:r>
            <a:r>
              <a:rPr lang="es-ES" dirty="0" err="1"/>
              <a:t>Removes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artifact</a:t>
            </a:r>
            <a:r>
              <a:rPr lang="es-ES" dirty="0"/>
              <a:t>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operator</a:t>
            </a:r>
            <a:r>
              <a:rPr lang="es-ES" dirty="0"/>
              <a:t> </a:t>
            </a:r>
            <a:r>
              <a:rPr lang="es-ES" dirty="0" err="1"/>
              <a:t>platform</a:t>
            </a: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 dirty="0" err="1"/>
              <a:t>viewArtifact</a:t>
            </a:r>
            <a:r>
              <a:rPr lang="es-ES" dirty="0"/>
              <a:t> </a:t>
            </a:r>
            <a:r>
              <a:rPr lang="es-ES" dirty="0" err="1"/>
              <a:t>Retrieves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artifact</a:t>
            </a:r>
            <a:r>
              <a:rPr lang="es-ES" dirty="0"/>
              <a:t> </a:t>
            </a:r>
            <a:r>
              <a:rPr lang="es-ES" dirty="0" err="1"/>
              <a:t>details</a:t>
            </a: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 dirty="0" err="1"/>
              <a:t>uploadFile</a:t>
            </a:r>
            <a:r>
              <a:rPr lang="es-ES" dirty="0"/>
              <a:t> </a:t>
            </a:r>
            <a:r>
              <a:rPr lang="es-ES" dirty="0" err="1"/>
              <a:t>Upload</a:t>
            </a:r>
            <a:r>
              <a:rPr lang="es-ES" dirty="0"/>
              <a:t> </a:t>
            </a:r>
            <a:r>
              <a:rPr lang="es-ES" dirty="0" err="1"/>
              <a:t>application</a:t>
            </a:r>
            <a:r>
              <a:rPr lang="es-ES" dirty="0"/>
              <a:t> binaries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operator</a:t>
            </a:r>
            <a:r>
              <a:rPr lang="es-ES" dirty="0"/>
              <a:t> </a:t>
            </a:r>
            <a:r>
              <a:rPr lang="es-ES" dirty="0" err="1"/>
              <a:t>platform</a:t>
            </a: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 dirty="0" err="1"/>
              <a:t>removeFile</a:t>
            </a:r>
            <a:r>
              <a:rPr lang="es-ES" dirty="0"/>
              <a:t> </a:t>
            </a:r>
            <a:r>
              <a:rPr lang="es-ES" dirty="0" err="1"/>
              <a:t>Removes</a:t>
            </a:r>
            <a:r>
              <a:rPr lang="es-ES" dirty="0"/>
              <a:t> </a:t>
            </a:r>
            <a:r>
              <a:rPr lang="es-ES" dirty="0" err="1"/>
              <a:t>application</a:t>
            </a:r>
            <a:r>
              <a:rPr lang="es-ES" dirty="0"/>
              <a:t> binaries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operator</a:t>
            </a:r>
            <a:r>
              <a:rPr lang="es-ES" dirty="0"/>
              <a:t> </a:t>
            </a:r>
            <a:r>
              <a:rPr lang="es-ES" dirty="0" err="1"/>
              <a:t>platform</a:t>
            </a: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 dirty="0" err="1"/>
              <a:t>viewFileInfo</a:t>
            </a:r>
            <a:r>
              <a:rPr lang="es-ES" dirty="0"/>
              <a:t> </a:t>
            </a:r>
            <a:r>
              <a:rPr lang="es-ES" dirty="0" err="1"/>
              <a:t>Retrieves</a:t>
            </a:r>
            <a:r>
              <a:rPr lang="es-ES" dirty="0"/>
              <a:t> </a:t>
            </a:r>
            <a:r>
              <a:rPr lang="es-ES" dirty="0" err="1"/>
              <a:t>details</a:t>
            </a:r>
            <a:r>
              <a:rPr lang="es-ES" dirty="0"/>
              <a:t> </a:t>
            </a:r>
            <a:r>
              <a:rPr lang="es-ES" dirty="0" err="1"/>
              <a:t>about</a:t>
            </a:r>
            <a:r>
              <a:rPr lang="es-ES" dirty="0"/>
              <a:t> binaries </a:t>
            </a:r>
            <a:r>
              <a:rPr lang="es-ES" dirty="0" err="1"/>
              <a:t>assosiated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applicatio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20265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4.20473692548100075328E+00&quot;&gt;&lt;m_msothmcolidx val=&quot;0&quot;/&gt;&lt;m_rgb r=&quot;D3&quot; g=&quot;F3&quot; b=&quot;FF&quot;/&gt;&lt;/elem&gt;&lt;elem m_fUsage=&quot;2.00471880609000008278E+00&quot;&gt;&lt;m_msothmcolidx val=&quot;0&quot;/&gt;&lt;m_rgb r=&quot;90&quot; g=&quot;E1&quot; b=&quot;FF&quot;/&gt;&lt;/elem&gt;&lt;elem m_fUsage=&quot;9.00000000000000022204E-01&quot;&gt;&lt;m_msothmcolidx val=&quot;0&quot;/&gt;&lt;m_rgb r=&quot;66&quot; g=&quot;A3&quot; b=&quot;FF&quot;/&gt;&lt;/elem&gt;&lt;elem m_fUsage=&quot;3.48678440100000153201E-01&quot;&gt;&lt;m_msothmcolidx val=&quot;0&quot;/&gt;&lt;m_rgb r=&quot;21&quot; g=&quot;C2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dice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eparadore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ido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ierre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Normativa_de_Seguridad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Contenido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ontenido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Contenido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_Flow_SignoffStatus xmlns="28a5abc9-4d39-4764-ae16-017272e9689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B2340FBB26FA47B833A86C4105582E" ma:contentTypeVersion="" ma:contentTypeDescription="Create a new document." ma:contentTypeScope="" ma:versionID="0a59f711d4f23cbe62a3204073c5be49">
  <xsd:schema xmlns:xsd="http://www.w3.org/2001/XMLSchema" xmlns:xs="http://www.w3.org/2001/XMLSchema" xmlns:p="http://schemas.microsoft.com/office/2006/metadata/properties" xmlns:ns1="http://schemas.microsoft.com/sharepoint/v3" xmlns:ns2="51bfb0fa-35ae-4a66-b3d4-c4ecfc995464" xmlns:ns3="28a5abc9-4d39-4764-ae16-017272e9689a" targetNamespace="http://schemas.microsoft.com/office/2006/metadata/properties" ma:root="true" ma:fieldsID="3de729c2f4d41dac63f87b60c971a2c5" ns1:_="" ns2:_="" ns3:_="">
    <xsd:import namespace="http://schemas.microsoft.com/sharepoint/v3"/>
    <xsd:import namespace="51bfb0fa-35ae-4a66-b3d4-c4ecfc995464"/>
    <xsd:import namespace="28a5abc9-4d39-4764-ae16-017272e9689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GenerationTime" minOccurs="0"/>
                <xsd:element ref="ns3:MediaServiceEventHashCode" minOccurs="0"/>
                <xsd:element ref="ns3:_Flow_SignoffStatus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bfb0fa-35ae-4a66-b3d4-c4ecfc99546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a5abc9-4d39-4764-ae16-017272e968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0EBE0BD-5C5E-4D8E-8C93-18AC946B4159}">
  <ds:schemaRefs>
    <ds:schemaRef ds:uri="http://purl.org/dc/dcmitype/"/>
    <ds:schemaRef ds:uri="http://schemas.microsoft.com/office/infopath/2007/PartnerControls"/>
    <ds:schemaRef ds:uri="51bfb0fa-35ae-4a66-b3d4-c4ecfc995464"/>
    <ds:schemaRef ds:uri="http://purl.org/dc/elements/1.1/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28a5abc9-4d39-4764-ae16-017272e9689a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9EAA492-3EA5-4117-96AB-EF2C922430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F49F60A-7C71-4199-B7A6-B238D56AC072}">
  <ds:schemaRefs>
    <ds:schemaRef ds:uri="28a5abc9-4d39-4764-ae16-017272e9689a"/>
    <ds:schemaRef ds:uri="51bfb0fa-35ae-4a66-b3d4-c4ecfc99546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455</TotalTime>
  <Words>342</Words>
  <Application>Microsoft Office PowerPoint</Application>
  <PresentationFormat>Panorámica</PresentationFormat>
  <Paragraphs>41</Paragraphs>
  <Slides>12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6" baseType="lpstr">
      <vt:lpstr>Arial</vt:lpstr>
      <vt:lpstr>Calibri</vt:lpstr>
      <vt:lpstr>Courier New</vt:lpstr>
      <vt:lpstr>Telefonica ExtraLight</vt:lpstr>
      <vt:lpstr>Wingdings</vt:lpstr>
      <vt:lpstr>Indices</vt:lpstr>
      <vt:lpstr>Separadores</vt:lpstr>
      <vt:lpstr>Contenido</vt:lpstr>
      <vt:lpstr>Cierres</vt:lpstr>
      <vt:lpstr>Normativa_de_Seguridad</vt:lpstr>
      <vt:lpstr>1_Contenido</vt:lpstr>
      <vt:lpstr>2_Contenido</vt:lpstr>
      <vt:lpstr>3_Contenido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srael Moreno</dc:creator>
  <cp:lastModifiedBy>AURELIA MARTINEZ GUERRA</cp:lastModifiedBy>
  <cp:revision>146</cp:revision>
  <cp:lastPrinted>2022-07-20T08:00:06Z</cp:lastPrinted>
  <dcterms:created xsi:type="dcterms:W3CDTF">2021-04-15T10:27:36Z</dcterms:created>
  <dcterms:modified xsi:type="dcterms:W3CDTF">2022-07-20T13:3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B2340FBB26FA47B833A86C4105582E</vt:lpwstr>
  </property>
  <property fmtid="{D5CDD505-2E9C-101B-9397-08002B2CF9AE}" pid="3" name="MSIP_Label_e65bd4d2-aa7c-445f-9ef8-222ebb1d2b43_Enabled">
    <vt:lpwstr>true</vt:lpwstr>
  </property>
  <property fmtid="{D5CDD505-2E9C-101B-9397-08002B2CF9AE}" pid="4" name="MSIP_Label_e65bd4d2-aa7c-445f-9ef8-222ebb1d2b43_SetDate">
    <vt:lpwstr>2022-07-19T13:29:21Z</vt:lpwstr>
  </property>
  <property fmtid="{D5CDD505-2E9C-101B-9397-08002B2CF9AE}" pid="5" name="MSIP_Label_e65bd4d2-aa7c-445f-9ef8-222ebb1d2b43_Method">
    <vt:lpwstr>Privileged</vt:lpwstr>
  </property>
  <property fmtid="{D5CDD505-2E9C-101B-9397-08002B2CF9AE}" pid="6" name="MSIP_Label_e65bd4d2-aa7c-445f-9ef8-222ebb1d2b43_Name">
    <vt:lpwstr>e65bd4d2-aa7c-445f-9ef8-222ebb1d2b43</vt:lpwstr>
  </property>
  <property fmtid="{D5CDD505-2E9C-101B-9397-08002B2CF9AE}" pid="7" name="MSIP_Label_e65bd4d2-aa7c-445f-9ef8-222ebb1d2b43_SiteId">
    <vt:lpwstr>9744600e-3e04-492e-baa1-25ec245c6f10</vt:lpwstr>
  </property>
  <property fmtid="{D5CDD505-2E9C-101B-9397-08002B2CF9AE}" pid="8" name="MSIP_Label_e65bd4d2-aa7c-445f-9ef8-222ebb1d2b43_ActionId">
    <vt:lpwstr>59a439f6-bb7b-4f36-a8a1-d77270b22551</vt:lpwstr>
  </property>
  <property fmtid="{D5CDD505-2E9C-101B-9397-08002B2CF9AE}" pid="9" name="MSIP_Label_e65bd4d2-aa7c-445f-9ef8-222ebb1d2b43_ContentBits">
    <vt:lpwstr>2</vt:lpwstr>
  </property>
</Properties>
</file>